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6" r:id="rId2"/>
    <p:sldId id="257" r:id="rId3"/>
    <p:sldId id="258" r:id="rId4"/>
    <p:sldId id="261" r:id="rId5"/>
    <p:sldId id="281" r:id="rId6"/>
    <p:sldId id="282" r:id="rId7"/>
    <p:sldId id="263" r:id="rId8"/>
    <p:sldId id="264" r:id="rId9"/>
    <p:sldId id="284" r:id="rId10"/>
    <p:sldId id="265" r:id="rId11"/>
    <p:sldId id="285" r:id="rId12"/>
    <p:sldId id="268" r:id="rId13"/>
    <p:sldId id="273" r:id="rId14"/>
    <p:sldId id="283" r:id="rId15"/>
    <p:sldId id="286" r:id="rId16"/>
    <p:sldId id="278" r:id="rId17"/>
  </p:sldIdLst>
  <p:sldSz cx="12192000" cy="6858000"/>
  <p:notesSz cx="6858000" cy="9144000"/>
  <p:custDataLst>
    <p:tags r:id="rId19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798F69DA-4924-4B83-ADB4-CF3D9ABA563A}">
          <p14:sldIdLst>
            <p14:sldId id="256"/>
            <p14:sldId id="257"/>
          </p14:sldIdLst>
        </p14:section>
        <p14:section name="cel" id="{7AE0CA86-5C4E-4A9A-85B3-B517C3EF1AAF}">
          <p14:sldIdLst>
            <p14:sldId id="258"/>
          </p14:sldIdLst>
        </p14:section>
        <p14:section name="źródła" id="{D61CECD0-82DE-47D1-9536-9BBC4EA498AD}">
          <p14:sldIdLst>
            <p14:sldId id="261"/>
          </p14:sldIdLst>
        </p14:section>
        <p14:section name="opis PCA" id="{5C27E0BC-9DC7-404D-9EF3-F431D615CB3F}">
          <p14:sldIdLst>
            <p14:sldId id="281"/>
            <p14:sldId id="282"/>
          </p14:sldIdLst>
        </p14:section>
        <p14:section name="wyniki" id="{A1BC8714-E4D6-4066-BF97-3F7B80A76288}">
          <p14:sldIdLst>
            <p14:sldId id="263"/>
            <p14:sldId id="264"/>
            <p14:sldId id="284"/>
            <p14:sldId id="265"/>
            <p14:sldId id="285"/>
            <p14:sldId id="268"/>
            <p14:sldId id="273"/>
          </p14:sldIdLst>
        </p14:section>
        <p14:section name="wnioski" id="{6BBED414-A3E5-4253-B244-FAADCA2C93FE}">
          <p14:sldIdLst>
            <p14:sldId id="283"/>
            <p14:sldId id="286"/>
            <p14:sldId id="27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557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hai.pruteanu\OneDrive%20-%20Accenture\Mihai\WWSI\Magisterka\Pisanie\wykresy\2017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hai.pruteanu\OneDrive%20-%20Accenture\Mihai\WWSI\Magisterka\Pisanie\wykresy\2015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hai.pruteanu\OneDrive%20-%20Accenture\Mihai\WWSI\Magisterka\Pisanie\wykresy\2013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hai.pruteanu\OneDrive%20-%20Accenture\Mihai\WWSI\Magisterka\Pisanie\wykresy\2017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hai.pruteanu\OneDrive%20-%20Accenture\Mihai\WWSI\Magisterka\Pisanie\wykresy\2017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hai.pruteanu\OneDrive%20-%20Accenture\Mihai\WWSI\Magisterka\Pisanie\wykresy\2015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hai.pruteanu\OneDrive%20-%20Accenture\Mihai\WWSI\Magisterka\Pisanie\wykresy\2013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>
                <a:solidFill>
                  <a:schemeClr val="tx1"/>
                </a:solidFill>
              </a:rPr>
              <a:t>2017 </a:t>
            </a:r>
            <a:r>
              <a:rPr lang="en-US" sz="1100" dirty="0" err="1">
                <a:solidFill>
                  <a:schemeClr val="tx1"/>
                </a:solidFill>
              </a:rPr>
              <a:t>rok</a:t>
            </a:r>
            <a:endParaRPr lang="pl-PL" sz="11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505-4F49-82CF-0962FC5F5E04}"/>
                </c:ext>
              </c:extLst>
            </c:dLbl>
            <c:dLbl>
              <c:idx val="1"/>
              <c:layout>
                <c:manualLayout>
                  <c:x val="5.381290946274589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505-4F49-82CF-0962FC5F5E04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505-4F49-82CF-0962FC5F5E04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505-4F49-82CF-0962FC5F5E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cree-plot'!$A$2:$A$21</c:f>
              <c:strCache>
                <c:ptCount val="20"/>
                <c:pt idx="0">
                  <c:v>PC1</c:v>
                </c:pt>
                <c:pt idx="1">
                  <c:v>PC2</c:v>
                </c:pt>
                <c:pt idx="2">
                  <c:v>PC3</c:v>
                </c:pt>
                <c:pt idx="3">
                  <c:v>PC4</c:v>
                </c:pt>
                <c:pt idx="4">
                  <c:v>PC5</c:v>
                </c:pt>
                <c:pt idx="5">
                  <c:v>PC6</c:v>
                </c:pt>
                <c:pt idx="6">
                  <c:v>PC7</c:v>
                </c:pt>
                <c:pt idx="7">
                  <c:v>PC8</c:v>
                </c:pt>
                <c:pt idx="8">
                  <c:v>PC9</c:v>
                </c:pt>
                <c:pt idx="9">
                  <c:v>PC10</c:v>
                </c:pt>
                <c:pt idx="10">
                  <c:v>PC11</c:v>
                </c:pt>
                <c:pt idx="11">
                  <c:v>PC12</c:v>
                </c:pt>
                <c:pt idx="12">
                  <c:v>PC13</c:v>
                </c:pt>
                <c:pt idx="13">
                  <c:v>PC14</c:v>
                </c:pt>
                <c:pt idx="14">
                  <c:v>PC15</c:v>
                </c:pt>
                <c:pt idx="15">
                  <c:v>PC16</c:v>
                </c:pt>
                <c:pt idx="16">
                  <c:v>PC17</c:v>
                </c:pt>
                <c:pt idx="17">
                  <c:v>PC18</c:v>
                </c:pt>
                <c:pt idx="18">
                  <c:v>PC19</c:v>
                </c:pt>
                <c:pt idx="19">
                  <c:v>PC20</c:v>
                </c:pt>
              </c:strCache>
            </c:strRef>
          </c:cat>
          <c:val>
            <c:numRef>
              <c:f>'scree-plot'!$B$2:$B$21</c:f>
              <c:numCache>
                <c:formatCode>0.0%</c:formatCode>
                <c:ptCount val="20"/>
                <c:pt idx="0" formatCode="0%">
                  <c:v>0.21</c:v>
                </c:pt>
                <c:pt idx="1">
                  <c:v>0.17300000000000001</c:v>
                </c:pt>
                <c:pt idx="2">
                  <c:v>9.6000000000000002E-2</c:v>
                </c:pt>
                <c:pt idx="3">
                  <c:v>6.3E-2</c:v>
                </c:pt>
                <c:pt idx="4">
                  <c:v>0.05</c:v>
                </c:pt>
                <c:pt idx="5" formatCode="0%">
                  <c:v>4.2999999999999997E-2</c:v>
                </c:pt>
                <c:pt idx="6" formatCode="0%">
                  <c:v>3.7000000000000005E-2</c:v>
                </c:pt>
                <c:pt idx="7" formatCode="0%">
                  <c:v>3.4000000000000002E-2</c:v>
                </c:pt>
                <c:pt idx="8" formatCode="0%">
                  <c:v>3.1E-2</c:v>
                </c:pt>
                <c:pt idx="9" formatCode="0%">
                  <c:v>0.03</c:v>
                </c:pt>
                <c:pt idx="10" formatCode="0%">
                  <c:v>2.6000000000000002E-2</c:v>
                </c:pt>
                <c:pt idx="11" formatCode="0%">
                  <c:v>2.3E-2</c:v>
                </c:pt>
                <c:pt idx="12" formatCode="0%">
                  <c:v>2.2000000000000002E-2</c:v>
                </c:pt>
                <c:pt idx="13" formatCode="0%">
                  <c:v>1.9E-2</c:v>
                </c:pt>
                <c:pt idx="14" formatCode="0%">
                  <c:v>1.8000000000000002E-2</c:v>
                </c:pt>
                <c:pt idx="15" formatCode="0%">
                  <c:v>1.4999999999999999E-2</c:v>
                </c:pt>
                <c:pt idx="16" formatCode="0%">
                  <c:v>1.3999999999999999E-2</c:v>
                </c:pt>
                <c:pt idx="17" formatCode="0%">
                  <c:v>1.3000000000000001E-2</c:v>
                </c:pt>
                <c:pt idx="18" formatCode="0%">
                  <c:v>1.1000000000000001E-2</c:v>
                </c:pt>
                <c:pt idx="19" formatCode="0%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505-4F49-82CF-0962FC5F5E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"/>
        <c:overlap val="-68"/>
        <c:axId val="2012646496"/>
        <c:axId val="1869728112"/>
      </c:barChart>
      <c:catAx>
        <c:axId val="201264649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pl-PL" sz="900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kładowa główna</a:t>
                </a:r>
                <a:r>
                  <a:rPr lang="pl-PL" sz="900" baseline="0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pl-PL" sz="900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principal component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1869728112"/>
        <c:crosses val="autoZero"/>
        <c:auto val="1"/>
        <c:lblAlgn val="ctr"/>
        <c:lblOffset val="100"/>
        <c:noMultiLvlLbl val="0"/>
      </c:catAx>
      <c:valAx>
        <c:axId val="1869728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pl-PL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ariancja *</a:t>
                </a:r>
                <a:r>
                  <a:rPr lang="pl-PL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100</a:t>
                </a:r>
                <a:r>
                  <a:rPr lang="en-US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%</a:t>
                </a:r>
                <a:endParaRPr lang="pl-PL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2012646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>
                <a:solidFill>
                  <a:schemeClr val="tx1"/>
                </a:solidFill>
              </a:rPr>
              <a:t>2015 </a:t>
            </a:r>
            <a:r>
              <a:rPr lang="en-US" sz="1100" dirty="0" err="1">
                <a:solidFill>
                  <a:schemeClr val="tx1"/>
                </a:solidFill>
              </a:rPr>
              <a:t>rok</a:t>
            </a:r>
            <a:endParaRPr lang="pl-PL" sz="11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F6B-4574-AB3B-0D88F649A70C}"/>
                </c:ext>
              </c:extLst>
            </c:dLbl>
            <c:dLbl>
              <c:idx val="1"/>
              <c:layout>
                <c:manualLayout>
                  <c:x val="5.381290946274589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F6B-4574-AB3B-0D88F649A70C}"/>
                </c:ext>
              </c:extLst>
            </c:dLbl>
            <c:dLbl>
              <c:idx val="2"/>
              <c:layout>
                <c:manualLayout>
                  <c:x val="4.5725589225589225E-3"/>
                  <c:y val="1.01832340200548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F6B-4574-AB3B-0D88F649A70C}"/>
                </c:ext>
              </c:extLst>
            </c:dLbl>
            <c:dLbl>
              <c:idx val="3"/>
              <c:layout>
                <c:manualLayout>
                  <c:x val="1.2015151515151516E-3"/>
                  <c:y val="1.10877619702602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F6B-4574-AB3B-0D88F649A7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variance!$A$2:$A$21</c:f>
              <c:strCache>
                <c:ptCount val="20"/>
                <c:pt idx="0">
                  <c:v>PC1</c:v>
                </c:pt>
                <c:pt idx="1">
                  <c:v>PC2</c:v>
                </c:pt>
                <c:pt idx="2">
                  <c:v>PC3</c:v>
                </c:pt>
                <c:pt idx="3">
                  <c:v>PC4</c:v>
                </c:pt>
                <c:pt idx="4">
                  <c:v>PC5</c:v>
                </c:pt>
                <c:pt idx="5">
                  <c:v>PC6</c:v>
                </c:pt>
                <c:pt idx="6">
                  <c:v>PC7</c:v>
                </c:pt>
                <c:pt idx="7">
                  <c:v>PC8</c:v>
                </c:pt>
                <c:pt idx="8">
                  <c:v>PC9</c:v>
                </c:pt>
                <c:pt idx="9">
                  <c:v>PC10</c:v>
                </c:pt>
                <c:pt idx="10">
                  <c:v>PC11</c:v>
                </c:pt>
                <c:pt idx="11">
                  <c:v>PC12</c:v>
                </c:pt>
                <c:pt idx="12">
                  <c:v>PC13</c:v>
                </c:pt>
                <c:pt idx="13">
                  <c:v>PC14</c:v>
                </c:pt>
                <c:pt idx="14">
                  <c:v>PC15</c:v>
                </c:pt>
                <c:pt idx="15">
                  <c:v>PC16</c:v>
                </c:pt>
                <c:pt idx="16">
                  <c:v>PC17</c:v>
                </c:pt>
                <c:pt idx="17">
                  <c:v>PC18</c:v>
                </c:pt>
                <c:pt idx="18">
                  <c:v>PC19</c:v>
                </c:pt>
                <c:pt idx="19">
                  <c:v>PC20</c:v>
                </c:pt>
              </c:strCache>
            </c:strRef>
          </c:cat>
          <c:val>
            <c:numRef>
              <c:f>variance!$B$2:$B$21</c:f>
              <c:numCache>
                <c:formatCode>0.0%</c:formatCode>
                <c:ptCount val="20"/>
                <c:pt idx="0" formatCode="0%">
                  <c:v>0.13</c:v>
                </c:pt>
                <c:pt idx="1">
                  <c:v>7.6999999999999999E-2</c:v>
                </c:pt>
                <c:pt idx="2">
                  <c:v>5.2999999999999999E-2</c:v>
                </c:pt>
                <c:pt idx="3">
                  <c:v>4.8000000000000001E-2</c:v>
                </c:pt>
                <c:pt idx="4">
                  <c:v>4.0999999999999995E-2</c:v>
                </c:pt>
                <c:pt idx="5">
                  <c:v>3.7000000000000005E-2</c:v>
                </c:pt>
                <c:pt idx="6">
                  <c:v>3.2000000000000001E-2</c:v>
                </c:pt>
                <c:pt idx="7">
                  <c:v>0.03</c:v>
                </c:pt>
                <c:pt idx="8">
                  <c:v>2.8999999999999998E-2</c:v>
                </c:pt>
                <c:pt idx="9">
                  <c:v>2.7000000000000003E-2</c:v>
                </c:pt>
                <c:pt idx="10">
                  <c:v>2.4E-2</c:v>
                </c:pt>
                <c:pt idx="11">
                  <c:v>2.3E-2</c:v>
                </c:pt>
                <c:pt idx="12">
                  <c:v>2.2000000000000002E-2</c:v>
                </c:pt>
                <c:pt idx="13">
                  <c:v>0.02</c:v>
                </c:pt>
                <c:pt idx="14">
                  <c:v>1.8000000000000002E-2</c:v>
                </c:pt>
                <c:pt idx="15">
                  <c:v>1.7000000000000001E-2</c:v>
                </c:pt>
                <c:pt idx="16">
                  <c:v>1.7000000000000001E-2</c:v>
                </c:pt>
                <c:pt idx="17">
                  <c:v>1.6E-2</c:v>
                </c:pt>
                <c:pt idx="18">
                  <c:v>1.4999999999999999E-2</c:v>
                </c:pt>
                <c:pt idx="19">
                  <c:v>1.3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F6B-4574-AB3B-0D88F649A7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"/>
        <c:overlap val="-68"/>
        <c:axId val="2012646496"/>
        <c:axId val="1869728112"/>
      </c:barChart>
      <c:catAx>
        <c:axId val="201264649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pl-PL" sz="900" b="0" i="0" u="none" strike="noStrike" baseline="0" dirty="0">
                    <a:effectLst/>
                  </a:rPr>
                  <a:t>Składowa główna</a:t>
                </a:r>
                <a:r>
                  <a:rPr lang="pl-PL" sz="900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(principal component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1869728112"/>
        <c:crosses val="autoZero"/>
        <c:auto val="1"/>
        <c:lblAlgn val="ctr"/>
        <c:lblOffset val="100"/>
        <c:noMultiLvlLbl val="0"/>
      </c:catAx>
      <c:valAx>
        <c:axId val="1869728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pl-PL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ariancja *</a:t>
                </a:r>
                <a:r>
                  <a:rPr lang="pl-PL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100</a:t>
                </a:r>
                <a:endParaRPr lang="pl-PL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2012646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100" dirty="0">
                <a:solidFill>
                  <a:schemeClr val="tx1"/>
                </a:solidFill>
              </a:rPr>
              <a:t>2013 </a:t>
            </a:r>
            <a:r>
              <a:rPr lang="en-US" sz="1100" dirty="0" err="1">
                <a:solidFill>
                  <a:schemeClr val="tx1"/>
                </a:solidFill>
              </a:rPr>
              <a:t>rok</a:t>
            </a:r>
            <a:endParaRPr lang="pl-PL" sz="11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69E-4046-A255-5BB696BDBE2C}"/>
                </c:ext>
              </c:extLst>
            </c:dLbl>
            <c:dLbl>
              <c:idx val="1"/>
              <c:layout>
                <c:manualLayout>
                  <c:x val="5.381290946274589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69E-4046-A255-5BB696BDBE2C}"/>
                </c:ext>
              </c:extLst>
            </c:dLbl>
            <c:dLbl>
              <c:idx val="2"/>
              <c:layout>
                <c:manualLayout>
                  <c:x val="1.098670090134202E-2"/>
                  <c:y val="1.01832054886675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69E-4046-A255-5BB696BDBE2C}"/>
                </c:ext>
              </c:extLst>
            </c:dLbl>
            <c:dLbl>
              <c:idx val="3"/>
              <c:layout>
                <c:manualLayout>
                  <c:x val="1.8166443365389025E-2"/>
                  <c:y val="7.154266781138876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69E-4046-A255-5BB696BDBE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variance!$A$2:$A$21</c:f>
              <c:strCache>
                <c:ptCount val="20"/>
                <c:pt idx="0">
                  <c:v>PC1</c:v>
                </c:pt>
                <c:pt idx="1">
                  <c:v>PC2</c:v>
                </c:pt>
                <c:pt idx="2">
                  <c:v>PC3</c:v>
                </c:pt>
                <c:pt idx="3">
                  <c:v>PC4</c:v>
                </c:pt>
                <c:pt idx="4">
                  <c:v>PC5</c:v>
                </c:pt>
                <c:pt idx="5">
                  <c:v>PC6</c:v>
                </c:pt>
                <c:pt idx="6">
                  <c:v>PC7</c:v>
                </c:pt>
                <c:pt idx="7">
                  <c:v>PC8</c:v>
                </c:pt>
                <c:pt idx="8">
                  <c:v>PC9</c:v>
                </c:pt>
                <c:pt idx="9">
                  <c:v>PC10</c:v>
                </c:pt>
                <c:pt idx="10">
                  <c:v>PC11</c:v>
                </c:pt>
                <c:pt idx="11">
                  <c:v>PC12</c:v>
                </c:pt>
                <c:pt idx="12">
                  <c:v>PC13</c:v>
                </c:pt>
                <c:pt idx="13">
                  <c:v>PC14</c:v>
                </c:pt>
                <c:pt idx="14">
                  <c:v>PC15</c:v>
                </c:pt>
                <c:pt idx="15">
                  <c:v>PC16</c:v>
                </c:pt>
                <c:pt idx="16">
                  <c:v>PC17</c:v>
                </c:pt>
                <c:pt idx="17">
                  <c:v>PC18</c:v>
                </c:pt>
                <c:pt idx="18">
                  <c:v>PC19</c:v>
                </c:pt>
                <c:pt idx="19">
                  <c:v>PC20</c:v>
                </c:pt>
              </c:strCache>
            </c:strRef>
          </c:cat>
          <c:val>
            <c:numRef>
              <c:f>variance!$B$2:$B$21</c:f>
              <c:numCache>
                <c:formatCode>0.0%</c:formatCode>
                <c:ptCount val="20"/>
                <c:pt idx="0">
                  <c:v>9.9000000000000005E-2</c:v>
                </c:pt>
                <c:pt idx="1">
                  <c:v>7.8E-2</c:v>
                </c:pt>
                <c:pt idx="2">
                  <c:v>6.9000000000000006E-2</c:v>
                </c:pt>
                <c:pt idx="3">
                  <c:v>6.5000000000000002E-2</c:v>
                </c:pt>
                <c:pt idx="4">
                  <c:v>0.05</c:v>
                </c:pt>
                <c:pt idx="5">
                  <c:v>4.4999999999999998E-2</c:v>
                </c:pt>
                <c:pt idx="6">
                  <c:v>3.7000000000000005E-2</c:v>
                </c:pt>
                <c:pt idx="7">
                  <c:v>3.2000000000000001E-2</c:v>
                </c:pt>
                <c:pt idx="8">
                  <c:v>2.8999999999999998E-2</c:v>
                </c:pt>
                <c:pt idx="9">
                  <c:v>2.7999999999999997E-2</c:v>
                </c:pt>
                <c:pt idx="10">
                  <c:v>2.5000000000000001E-2</c:v>
                </c:pt>
                <c:pt idx="11">
                  <c:v>2.2000000000000002E-2</c:v>
                </c:pt>
                <c:pt idx="12">
                  <c:v>2.2000000000000002E-2</c:v>
                </c:pt>
                <c:pt idx="13">
                  <c:v>2.1000000000000001E-2</c:v>
                </c:pt>
                <c:pt idx="14">
                  <c:v>1.9E-2</c:v>
                </c:pt>
                <c:pt idx="15">
                  <c:v>1.9E-2</c:v>
                </c:pt>
                <c:pt idx="16">
                  <c:v>1.7000000000000001E-2</c:v>
                </c:pt>
                <c:pt idx="17">
                  <c:v>1.7000000000000001E-2</c:v>
                </c:pt>
                <c:pt idx="18">
                  <c:v>1.6E-2</c:v>
                </c:pt>
                <c:pt idx="19">
                  <c:v>1.3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69E-4046-A255-5BB696BDB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"/>
        <c:overlap val="-68"/>
        <c:axId val="2012646496"/>
        <c:axId val="1869728112"/>
      </c:barChart>
      <c:catAx>
        <c:axId val="201264649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pl-PL" sz="900" b="0" i="0" u="none" strike="noStrike" baseline="0" dirty="0">
                    <a:effectLst/>
                  </a:rPr>
                  <a:t>Składowa główna</a:t>
                </a:r>
                <a:r>
                  <a:rPr lang="pl-PL" sz="900" dirty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(principal component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1869728112"/>
        <c:crosses val="autoZero"/>
        <c:auto val="1"/>
        <c:lblAlgn val="ctr"/>
        <c:lblOffset val="100"/>
        <c:noMultiLvlLbl val="0"/>
      </c:catAx>
      <c:valAx>
        <c:axId val="1869728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pl-PL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ariancja *</a:t>
                </a:r>
                <a:r>
                  <a:rPr lang="pl-PL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100</a:t>
                </a:r>
                <a:endParaRPr lang="pl-PL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2012646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PCA-plot'!$B$2:$B$381</c:f>
              <c:numCache>
                <c:formatCode>General</c:formatCode>
                <c:ptCount val="380"/>
                <c:pt idx="0">
                  <c:v>3.00228193078967E-2</c:v>
                </c:pt>
                <c:pt idx="1">
                  <c:v>0.45454214829090001</c:v>
                </c:pt>
                <c:pt idx="2">
                  <c:v>0.15409166170364699</c:v>
                </c:pt>
                <c:pt idx="3">
                  <c:v>-3.9689910955302603E-2</c:v>
                </c:pt>
                <c:pt idx="4">
                  <c:v>-6.6329058745735997E-2</c:v>
                </c:pt>
                <c:pt idx="5">
                  <c:v>-4.9887758793598899E-2</c:v>
                </c:pt>
                <c:pt idx="6">
                  <c:v>4.8663479316878699E-2</c:v>
                </c:pt>
                <c:pt idx="7">
                  <c:v>0.10235135079914801</c:v>
                </c:pt>
                <c:pt idx="8">
                  <c:v>-0.25371585556106802</c:v>
                </c:pt>
                <c:pt idx="9">
                  <c:v>-9.1489798860975892E-3</c:v>
                </c:pt>
                <c:pt idx="10">
                  <c:v>0.188800782592903</c:v>
                </c:pt>
                <c:pt idx="11">
                  <c:v>-0.13936028034328901</c:v>
                </c:pt>
                <c:pt idx="12">
                  <c:v>-0.187373675474447</c:v>
                </c:pt>
                <c:pt idx="13">
                  <c:v>1.9830505242873098E-2</c:v>
                </c:pt>
                <c:pt idx="14">
                  <c:v>3.0213493226930201E-2</c:v>
                </c:pt>
                <c:pt idx="15">
                  <c:v>8.7098432749787194E-2</c:v>
                </c:pt>
                <c:pt idx="16">
                  <c:v>-0.125732020243947</c:v>
                </c:pt>
                <c:pt idx="17">
                  <c:v>-0.31241927794464902</c:v>
                </c:pt>
                <c:pt idx="18">
                  <c:v>0.20237214908538301</c:v>
                </c:pt>
                <c:pt idx="19">
                  <c:v>-2.0256796285420299E-2</c:v>
                </c:pt>
                <c:pt idx="20">
                  <c:v>0.19260624835931101</c:v>
                </c:pt>
                <c:pt idx="21">
                  <c:v>3.4573700546720203E-2</c:v>
                </c:pt>
                <c:pt idx="22">
                  <c:v>-0.170390753003277</c:v>
                </c:pt>
                <c:pt idx="23">
                  <c:v>-3.67789413520462E-2</c:v>
                </c:pt>
                <c:pt idx="24">
                  <c:v>-3.5084020256273503E-2</c:v>
                </c:pt>
                <c:pt idx="25">
                  <c:v>-0.14820940660217</c:v>
                </c:pt>
                <c:pt idx="26">
                  <c:v>0.614349267057543</c:v>
                </c:pt>
                <c:pt idx="27">
                  <c:v>0.73814322777290797</c:v>
                </c:pt>
                <c:pt idx="28">
                  <c:v>0.64113807561631997</c:v>
                </c:pt>
                <c:pt idx="29">
                  <c:v>0.896357325827282</c:v>
                </c:pt>
                <c:pt idx="30">
                  <c:v>-0.419342466364099</c:v>
                </c:pt>
                <c:pt idx="31">
                  <c:v>-0.38618002914736599</c:v>
                </c:pt>
                <c:pt idx="32">
                  <c:v>-0.20888479995112899</c:v>
                </c:pt>
                <c:pt idx="33">
                  <c:v>-0.29670720395592998</c:v>
                </c:pt>
                <c:pt idx="34">
                  <c:v>-0.43174855932481898</c:v>
                </c:pt>
                <c:pt idx="35">
                  <c:v>-0.46738359741017799</c:v>
                </c:pt>
                <c:pt idx="36">
                  <c:v>5.3342126290307698E-2</c:v>
                </c:pt>
                <c:pt idx="37">
                  <c:v>-0.40513459446693301</c:v>
                </c:pt>
                <c:pt idx="38">
                  <c:v>-0.17715943743729901</c:v>
                </c:pt>
                <c:pt idx="39">
                  <c:v>-8.5408777359177193E-2</c:v>
                </c:pt>
                <c:pt idx="40">
                  <c:v>-0.55295672737635204</c:v>
                </c:pt>
                <c:pt idx="41">
                  <c:v>-0.42619663703053601</c:v>
                </c:pt>
                <c:pt idx="42">
                  <c:v>-0.244730304427559</c:v>
                </c:pt>
                <c:pt idx="43">
                  <c:v>-0.257624929843702</c:v>
                </c:pt>
                <c:pt idx="44">
                  <c:v>-0.30008205074619898</c:v>
                </c:pt>
                <c:pt idx="45">
                  <c:v>-0.27560928128915602</c:v>
                </c:pt>
                <c:pt idx="46">
                  <c:v>-0.42523714367616</c:v>
                </c:pt>
                <c:pt idx="47">
                  <c:v>-0.41449823099586602</c:v>
                </c:pt>
                <c:pt idx="48">
                  <c:v>-0.13028879756411299</c:v>
                </c:pt>
                <c:pt idx="49">
                  <c:v>0.69104612085750206</c:v>
                </c:pt>
                <c:pt idx="50">
                  <c:v>0.77176997817480497</c:v>
                </c:pt>
                <c:pt idx="51">
                  <c:v>0.64534145215105398</c:v>
                </c:pt>
                <c:pt idx="52">
                  <c:v>0.60656288378106404</c:v>
                </c:pt>
                <c:pt idx="53">
                  <c:v>-0.37175877776349298</c:v>
                </c:pt>
                <c:pt idx="54">
                  <c:v>-0.25960847524039099</c:v>
                </c:pt>
                <c:pt idx="55">
                  <c:v>-0.30605802789448999</c:v>
                </c:pt>
                <c:pt idx="56">
                  <c:v>-0.41272983930705698</c:v>
                </c:pt>
                <c:pt idx="57">
                  <c:v>-0.227321791466434</c:v>
                </c:pt>
                <c:pt idx="58">
                  <c:v>-0.10873586453171501</c:v>
                </c:pt>
                <c:pt idx="59">
                  <c:v>0.134612459156285</c:v>
                </c:pt>
                <c:pt idx="60">
                  <c:v>-0.37412182301944003</c:v>
                </c:pt>
                <c:pt idx="61">
                  <c:v>9.0701494318559204E-3</c:v>
                </c:pt>
                <c:pt idx="62">
                  <c:v>-8.8034078051149198E-2</c:v>
                </c:pt>
                <c:pt idx="63">
                  <c:v>-9.8236473266574295E-2</c:v>
                </c:pt>
                <c:pt idx="64">
                  <c:v>6.7678456687975896E-2</c:v>
                </c:pt>
                <c:pt idx="65">
                  <c:v>-0.42961172381519103</c:v>
                </c:pt>
                <c:pt idx="66">
                  <c:v>0.108273705805378</c:v>
                </c:pt>
                <c:pt idx="67">
                  <c:v>-0.32639021779882199</c:v>
                </c:pt>
                <c:pt idx="68">
                  <c:v>-2.6531659364523601E-2</c:v>
                </c:pt>
                <c:pt idx="69">
                  <c:v>0.18630933211628201</c:v>
                </c:pt>
                <c:pt idx="70">
                  <c:v>-0.107408530002641</c:v>
                </c:pt>
                <c:pt idx="71">
                  <c:v>-0.50960856840902102</c:v>
                </c:pt>
                <c:pt idx="72">
                  <c:v>-0.14502177420425599</c:v>
                </c:pt>
                <c:pt idx="73">
                  <c:v>0.26644291543925702</c:v>
                </c:pt>
                <c:pt idx="74">
                  <c:v>0.44071438550176101</c:v>
                </c:pt>
                <c:pt idx="75">
                  <c:v>0.68143244630669297</c:v>
                </c:pt>
                <c:pt idx="76">
                  <c:v>0.77190248020741004</c:v>
                </c:pt>
                <c:pt idx="77">
                  <c:v>-0.105082668035219</c:v>
                </c:pt>
                <c:pt idx="78">
                  <c:v>-0.118440945895726</c:v>
                </c:pt>
                <c:pt idx="79">
                  <c:v>-0.31319513839445201</c:v>
                </c:pt>
                <c:pt idx="80">
                  <c:v>4.2995164665899401E-2</c:v>
                </c:pt>
                <c:pt idx="81">
                  <c:v>-7.2983421150975697E-2</c:v>
                </c:pt>
                <c:pt idx="82">
                  <c:v>-0.113124630448024</c:v>
                </c:pt>
                <c:pt idx="83">
                  <c:v>-0.36718299105999602</c:v>
                </c:pt>
                <c:pt idx="84">
                  <c:v>-8.1285146871907799E-2</c:v>
                </c:pt>
                <c:pt idx="85">
                  <c:v>-4.49539879114908E-2</c:v>
                </c:pt>
                <c:pt idx="86">
                  <c:v>9.7091653616246901E-2</c:v>
                </c:pt>
                <c:pt idx="87">
                  <c:v>0.11112613314471401</c:v>
                </c:pt>
                <c:pt idx="88">
                  <c:v>-0.16340927146966699</c:v>
                </c:pt>
                <c:pt idx="89">
                  <c:v>0.68640610090839005</c:v>
                </c:pt>
                <c:pt idx="90">
                  <c:v>0.61022075545250298</c:v>
                </c:pt>
                <c:pt idx="91">
                  <c:v>6.7517907928154194E-2</c:v>
                </c:pt>
                <c:pt idx="92">
                  <c:v>-0.309758323594792</c:v>
                </c:pt>
                <c:pt idx="93">
                  <c:v>-0.45770873957743502</c:v>
                </c:pt>
                <c:pt idx="94">
                  <c:v>-0.471122777733471</c:v>
                </c:pt>
                <c:pt idx="95">
                  <c:v>-0.477297397728494</c:v>
                </c:pt>
                <c:pt idx="96">
                  <c:v>-6.9093762649582793E-2</c:v>
                </c:pt>
                <c:pt idx="97">
                  <c:v>-0.31388764914239897</c:v>
                </c:pt>
                <c:pt idx="98">
                  <c:v>9.3987317922727603E-2</c:v>
                </c:pt>
                <c:pt idx="99">
                  <c:v>-0.449612045582021</c:v>
                </c:pt>
                <c:pt idx="100">
                  <c:v>-0.38368998412166599</c:v>
                </c:pt>
                <c:pt idx="101">
                  <c:v>-0.37136265263058899</c:v>
                </c:pt>
                <c:pt idx="102">
                  <c:v>-0.15513106635195001</c:v>
                </c:pt>
                <c:pt idx="103">
                  <c:v>-0.114922690842846</c:v>
                </c:pt>
                <c:pt idx="104">
                  <c:v>-0.39464153238772898</c:v>
                </c:pt>
                <c:pt idx="105">
                  <c:v>-0.49329309334577598</c:v>
                </c:pt>
                <c:pt idx="106">
                  <c:v>-6.5324156852949095E-2</c:v>
                </c:pt>
                <c:pt idx="107">
                  <c:v>-0.418189792434984</c:v>
                </c:pt>
                <c:pt idx="108">
                  <c:v>-0.51939424698596204</c:v>
                </c:pt>
                <c:pt idx="109">
                  <c:v>-0.46707506185409903</c:v>
                </c:pt>
                <c:pt idx="110">
                  <c:v>-5.6974625267284799E-2</c:v>
                </c:pt>
                <c:pt idx="111">
                  <c:v>-0.42654739046760898</c:v>
                </c:pt>
                <c:pt idx="112">
                  <c:v>0.78445485872960596</c:v>
                </c:pt>
                <c:pt idx="113">
                  <c:v>0.63610825673839</c:v>
                </c:pt>
                <c:pt idx="114">
                  <c:v>0.387689734981989</c:v>
                </c:pt>
                <c:pt idx="115">
                  <c:v>0.29683137591828301</c:v>
                </c:pt>
                <c:pt idx="116">
                  <c:v>0.238659503295828</c:v>
                </c:pt>
                <c:pt idx="117">
                  <c:v>0.34972089969972397</c:v>
                </c:pt>
                <c:pt idx="118">
                  <c:v>9.6874689916329595E-2</c:v>
                </c:pt>
                <c:pt idx="119">
                  <c:v>0.16579449705957899</c:v>
                </c:pt>
                <c:pt idx="120">
                  <c:v>0.190568817967328</c:v>
                </c:pt>
                <c:pt idx="121">
                  <c:v>-4.6455809308376103E-2</c:v>
                </c:pt>
                <c:pt idx="122">
                  <c:v>-0.368462136519844</c:v>
                </c:pt>
                <c:pt idx="123">
                  <c:v>4.4980022291881701E-2</c:v>
                </c:pt>
                <c:pt idx="124">
                  <c:v>-9.8561908689381895E-3</c:v>
                </c:pt>
                <c:pt idx="125">
                  <c:v>-0.38036101298121699</c:v>
                </c:pt>
                <c:pt idx="126">
                  <c:v>0.29535685195577599</c:v>
                </c:pt>
                <c:pt idx="127">
                  <c:v>0.31009549206036702</c:v>
                </c:pt>
                <c:pt idx="128">
                  <c:v>-0.35251387981757798</c:v>
                </c:pt>
                <c:pt idx="129">
                  <c:v>-0.44960502734950902</c:v>
                </c:pt>
                <c:pt idx="130">
                  <c:v>0.138853992505238</c:v>
                </c:pt>
                <c:pt idx="131">
                  <c:v>-0.56712845633487496</c:v>
                </c:pt>
                <c:pt idx="132">
                  <c:v>0.17980288956572499</c:v>
                </c:pt>
                <c:pt idx="133">
                  <c:v>0.372410855760614</c:v>
                </c:pt>
                <c:pt idx="134">
                  <c:v>0.78395744659868605</c:v>
                </c:pt>
                <c:pt idx="135">
                  <c:v>0.60913632558991204</c:v>
                </c:pt>
                <c:pt idx="136">
                  <c:v>0.74994703808327501</c:v>
                </c:pt>
                <c:pt idx="137">
                  <c:v>-0.21417141007756399</c:v>
                </c:pt>
                <c:pt idx="138">
                  <c:v>3.4433598390235701E-2</c:v>
                </c:pt>
                <c:pt idx="139">
                  <c:v>-0.112627342938038</c:v>
                </c:pt>
                <c:pt idx="140">
                  <c:v>-0.44546095568673</c:v>
                </c:pt>
                <c:pt idx="141">
                  <c:v>7.0647009387584406E-2</c:v>
                </c:pt>
                <c:pt idx="142">
                  <c:v>2.88536061306853E-2</c:v>
                </c:pt>
                <c:pt idx="143">
                  <c:v>-0.18478796314160301</c:v>
                </c:pt>
                <c:pt idx="144">
                  <c:v>0.10588589288429499</c:v>
                </c:pt>
                <c:pt idx="145">
                  <c:v>-0.37762179629966802</c:v>
                </c:pt>
                <c:pt idx="146">
                  <c:v>-0.46958528491240997</c:v>
                </c:pt>
                <c:pt idx="147">
                  <c:v>-0.36660178554529299</c:v>
                </c:pt>
                <c:pt idx="148">
                  <c:v>-0.14845014518990399</c:v>
                </c:pt>
                <c:pt idx="149">
                  <c:v>2.68663856669175E-2</c:v>
                </c:pt>
                <c:pt idx="150">
                  <c:v>-0.19881775964030499</c:v>
                </c:pt>
                <c:pt idx="151">
                  <c:v>-0.34131910704102197</c:v>
                </c:pt>
                <c:pt idx="152">
                  <c:v>-0.483518360353549</c:v>
                </c:pt>
                <c:pt idx="153">
                  <c:v>-8.6779804432028408E-3</c:v>
                </c:pt>
                <c:pt idx="154">
                  <c:v>3.04708309012988E-2</c:v>
                </c:pt>
                <c:pt idx="155">
                  <c:v>-0.410078337583962</c:v>
                </c:pt>
                <c:pt idx="156">
                  <c:v>-0.122566746095329</c:v>
                </c:pt>
                <c:pt idx="157">
                  <c:v>0.19080801047330501</c:v>
                </c:pt>
                <c:pt idx="158">
                  <c:v>-0.42828328484568201</c:v>
                </c:pt>
                <c:pt idx="159">
                  <c:v>-0.39356899585437799</c:v>
                </c:pt>
                <c:pt idx="160">
                  <c:v>-0.29139967580015802</c:v>
                </c:pt>
                <c:pt idx="161">
                  <c:v>-0.139477364522892</c:v>
                </c:pt>
                <c:pt idx="162">
                  <c:v>-0.38070525460224702</c:v>
                </c:pt>
                <c:pt idx="163">
                  <c:v>-0.44047222541158398</c:v>
                </c:pt>
                <c:pt idx="164">
                  <c:v>-0.357178103525704</c:v>
                </c:pt>
                <c:pt idx="165">
                  <c:v>-0.42443120100846998</c:v>
                </c:pt>
                <c:pt idx="166">
                  <c:v>-0.20927577249950099</c:v>
                </c:pt>
                <c:pt idx="167">
                  <c:v>0.11074493629453</c:v>
                </c:pt>
                <c:pt idx="168">
                  <c:v>-0.38800940312797599</c:v>
                </c:pt>
                <c:pt idx="169">
                  <c:v>0.20279966127555299</c:v>
                </c:pt>
                <c:pt idx="170">
                  <c:v>-9.7811101155770894E-2</c:v>
                </c:pt>
                <c:pt idx="171">
                  <c:v>-0.40969004379603102</c:v>
                </c:pt>
                <c:pt idx="172">
                  <c:v>-0.36565184685130298</c:v>
                </c:pt>
                <c:pt idx="173">
                  <c:v>8.9710327465612003E-3</c:v>
                </c:pt>
                <c:pt idx="174">
                  <c:v>0.62838036789973295</c:v>
                </c:pt>
                <c:pt idx="175">
                  <c:v>0.68631211911950896</c:v>
                </c:pt>
                <c:pt idx="176">
                  <c:v>0.68196608146371895</c:v>
                </c:pt>
                <c:pt idx="177">
                  <c:v>0.73102577468966501</c:v>
                </c:pt>
                <c:pt idx="178">
                  <c:v>0.67085767771151406</c:v>
                </c:pt>
                <c:pt idx="179">
                  <c:v>1.07187280656187E-2</c:v>
                </c:pt>
                <c:pt idx="180">
                  <c:v>-2.06164278342027E-2</c:v>
                </c:pt>
                <c:pt idx="181">
                  <c:v>-2.6109669157550401E-3</c:v>
                </c:pt>
                <c:pt idx="182">
                  <c:v>8.1577732918444792E-3</c:v>
                </c:pt>
                <c:pt idx="183">
                  <c:v>-0.12492163409885799</c:v>
                </c:pt>
                <c:pt idx="184">
                  <c:v>-7.7462681481655707E-2</c:v>
                </c:pt>
                <c:pt idx="185">
                  <c:v>-1.12592228033644E-2</c:v>
                </c:pt>
                <c:pt idx="186">
                  <c:v>-0.266695352753549</c:v>
                </c:pt>
                <c:pt idx="187">
                  <c:v>-0.40347033229246398</c:v>
                </c:pt>
                <c:pt idx="188">
                  <c:v>9.1762065846753102E-2</c:v>
                </c:pt>
                <c:pt idx="189">
                  <c:v>-0.2881739895771</c:v>
                </c:pt>
                <c:pt idx="190">
                  <c:v>0.49070202611782598</c:v>
                </c:pt>
                <c:pt idx="191">
                  <c:v>-0.24500578680160701</c:v>
                </c:pt>
                <c:pt idx="192">
                  <c:v>0.37855908004817301</c:v>
                </c:pt>
                <c:pt idx="193">
                  <c:v>0.30683466249206498</c:v>
                </c:pt>
                <c:pt idx="194">
                  <c:v>0.15918041029855601</c:v>
                </c:pt>
                <c:pt idx="195">
                  <c:v>0.39870893048436801</c:v>
                </c:pt>
                <c:pt idx="196">
                  <c:v>0.11969659115155</c:v>
                </c:pt>
                <c:pt idx="197">
                  <c:v>0.20294755975190801</c:v>
                </c:pt>
                <c:pt idx="198">
                  <c:v>6.6198326080529502E-2</c:v>
                </c:pt>
                <c:pt idx="199">
                  <c:v>-0.14994383689649901</c:v>
                </c:pt>
                <c:pt idx="200">
                  <c:v>8.2289612994224007E-2</c:v>
                </c:pt>
                <c:pt idx="201">
                  <c:v>0.29758684713829098</c:v>
                </c:pt>
                <c:pt idx="202">
                  <c:v>6.04682316980849E-3</c:v>
                </c:pt>
                <c:pt idx="203">
                  <c:v>-0.13970302140611501</c:v>
                </c:pt>
                <c:pt idx="204">
                  <c:v>2.5560689588255699E-2</c:v>
                </c:pt>
                <c:pt idx="205">
                  <c:v>0.17931687901062399</c:v>
                </c:pt>
                <c:pt idx="206">
                  <c:v>6.2441615079751399E-2</c:v>
                </c:pt>
                <c:pt idx="207">
                  <c:v>0.282255768942481</c:v>
                </c:pt>
                <c:pt idx="208">
                  <c:v>0.30578711892090099</c:v>
                </c:pt>
                <c:pt idx="209">
                  <c:v>0.23773187362555201</c:v>
                </c:pt>
                <c:pt idx="210">
                  <c:v>0.185423439029579</c:v>
                </c:pt>
                <c:pt idx="211">
                  <c:v>-0.34160398159857902</c:v>
                </c:pt>
                <c:pt idx="212">
                  <c:v>0.77695294099091905</c:v>
                </c:pt>
                <c:pt idx="213">
                  <c:v>0.60024485711567199</c:v>
                </c:pt>
                <c:pt idx="214">
                  <c:v>0.695913554127362</c:v>
                </c:pt>
                <c:pt idx="215">
                  <c:v>0.63782626122887498</c:v>
                </c:pt>
                <c:pt idx="216">
                  <c:v>-0.34380925895504699</c:v>
                </c:pt>
                <c:pt idx="217">
                  <c:v>-0.27152697049835101</c:v>
                </c:pt>
                <c:pt idx="218">
                  <c:v>-0.29681442267830499</c:v>
                </c:pt>
                <c:pt idx="219">
                  <c:v>-0.36971772034886402</c:v>
                </c:pt>
                <c:pt idx="220">
                  <c:v>-0.33137774748895499</c:v>
                </c:pt>
                <c:pt idx="221">
                  <c:v>-0.34980285540476802</c:v>
                </c:pt>
                <c:pt idx="222">
                  <c:v>-0.41351535788695098</c:v>
                </c:pt>
                <c:pt idx="223">
                  <c:v>-0.35898479082717599</c:v>
                </c:pt>
                <c:pt idx="224">
                  <c:v>-0.42802144966863398</c:v>
                </c:pt>
                <c:pt idx="225">
                  <c:v>-0.25331756989653498</c:v>
                </c:pt>
                <c:pt idx="226">
                  <c:v>-0.29261171449621298</c:v>
                </c:pt>
                <c:pt idx="227">
                  <c:v>-0.57183888829085505</c:v>
                </c:pt>
                <c:pt idx="228">
                  <c:v>-0.361823892346257</c:v>
                </c:pt>
                <c:pt idx="229">
                  <c:v>-0.43421597947662899</c:v>
                </c:pt>
                <c:pt idx="230">
                  <c:v>0.76376201657633802</c:v>
                </c:pt>
                <c:pt idx="231">
                  <c:v>0.13987991226077301</c:v>
                </c:pt>
                <c:pt idx="232">
                  <c:v>0.16069915627463599</c:v>
                </c:pt>
                <c:pt idx="233">
                  <c:v>-0.354966626744601</c:v>
                </c:pt>
                <c:pt idx="234">
                  <c:v>-0.14516513081688801</c:v>
                </c:pt>
                <c:pt idx="235">
                  <c:v>-0.52128071933547704</c:v>
                </c:pt>
                <c:pt idx="236">
                  <c:v>-0.112114503751876</c:v>
                </c:pt>
                <c:pt idx="237">
                  <c:v>-0.22990765329617499</c:v>
                </c:pt>
                <c:pt idx="238">
                  <c:v>-0.44712594112042597</c:v>
                </c:pt>
                <c:pt idx="239">
                  <c:v>-6.0504695417736704E-3</c:v>
                </c:pt>
                <c:pt idx="240">
                  <c:v>1.29548733149561E-2</c:v>
                </c:pt>
                <c:pt idx="241">
                  <c:v>0.18600017196827401</c:v>
                </c:pt>
                <c:pt idx="242">
                  <c:v>-0.36005940996976799</c:v>
                </c:pt>
                <c:pt idx="243">
                  <c:v>-0.37105187292789599</c:v>
                </c:pt>
                <c:pt idx="244">
                  <c:v>-0.336351851857005</c:v>
                </c:pt>
                <c:pt idx="245">
                  <c:v>-6.1418290409980897E-2</c:v>
                </c:pt>
                <c:pt idx="246">
                  <c:v>2.67298513204609E-2</c:v>
                </c:pt>
                <c:pt idx="247">
                  <c:v>-1.3992885293403499E-2</c:v>
                </c:pt>
                <c:pt idx="248">
                  <c:v>-0.14706839165013599</c:v>
                </c:pt>
                <c:pt idx="249">
                  <c:v>0.79357397193799195</c:v>
                </c:pt>
                <c:pt idx="250">
                  <c:v>0.70326687997218396</c:v>
                </c:pt>
                <c:pt idx="251">
                  <c:v>0.70259065125579601</c:v>
                </c:pt>
                <c:pt idx="252">
                  <c:v>0.67416180648474</c:v>
                </c:pt>
                <c:pt idx="253">
                  <c:v>0.25131998909404302</c:v>
                </c:pt>
                <c:pt idx="254">
                  <c:v>0.24981339095819</c:v>
                </c:pt>
                <c:pt idx="255">
                  <c:v>0.24593934697884601</c:v>
                </c:pt>
                <c:pt idx="256">
                  <c:v>-0.228883845027681</c:v>
                </c:pt>
                <c:pt idx="257">
                  <c:v>4.2268254529659398E-2</c:v>
                </c:pt>
                <c:pt idx="258">
                  <c:v>-0.41728153179660399</c:v>
                </c:pt>
                <c:pt idx="259">
                  <c:v>-0.39856502465018301</c:v>
                </c:pt>
                <c:pt idx="260">
                  <c:v>-7.8856550384766202E-2</c:v>
                </c:pt>
                <c:pt idx="261">
                  <c:v>4.3665363441058598E-2</c:v>
                </c:pt>
                <c:pt idx="262">
                  <c:v>6.6790918191856202E-2</c:v>
                </c:pt>
                <c:pt idx="263">
                  <c:v>0.13236843575460799</c:v>
                </c:pt>
                <c:pt idx="264">
                  <c:v>-0.25001074399975198</c:v>
                </c:pt>
                <c:pt idx="265">
                  <c:v>9.7100231428350905E-2</c:v>
                </c:pt>
                <c:pt idx="266">
                  <c:v>-0.21403112795457499</c:v>
                </c:pt>
                <c:pt idx="267">
                  <c:v>-5.6803448031985303E-2</c:v>
                </c:pt>
                <c:pt idx="268">
                  <c:v>8.4082966779211205E-2</c:v>
                </c:pt>
                <c:pt idx="269">
                  <c:v>-0.421252709491171</c:v>
                </c:pt>
                <c:pt idx="270">
                  <c:v>0.78207736139069695</c:v>
                </c:pt>
                <c:pt idx="271">
                  <c:v>0.90049035828105906</c:v>
                </c:pt>
                <c:pt idx="272">
                  <c:v>0.90020802912638098</c:v>
                </c:pt>
                <c:pt idx="273">
                  <c:v>0.54930631977878197</c:v>
                </c:pt>
                <c:pt idx="274">
                  <c:v>0.577900878492704</c:v>
                </c:pt>
                <c:pt idx="275">
                  <c:v>0.72258607399335095</c:v>
                </c:pt>
                <c:pt idx="276">
                  <c:v>0.62455987333590601</c:v>
                </c:pt>
                <c:pt idx="277">
                  <c:v>0.22689192351850099</c:v>
                </c:pt>
                <c:pt idx="278">
                  <c:v>0.73500945708097598</c:v>
                </c:pt>
                <c:pt idx="279">
                  <c:v>0.58223968685191596</c:v>
                </c:pt>
                <c:pt idx="280">
                  <c:v>0.46545622487332999</c:v>
                </c:pt>
                <c:pt idx="281">
                  <c:v>0.59651101996367595</c:v>
                </c:pt>
                <c:pt idx="282">
                  <c:v>0.40153063753896501</c:v>
                </c:pt>
                <c:pt idx="283">
                  <c:v>0.80899833737514903</c:v>
                </c:pt>
                <c:pt idx="284">
                  <c:v>0.64877890902007296</c:v>
                </c:pt>
                <c:pt idx="285">
                  <c:v>0.56501705927366397</c:v>
                </c:pt>
                <c:pt idx="286">
                  <c:v>0.80731241168300005</c:v>
                </c:pt>
                <c:pt idx="287">
                  <c:v>0.82565530449351199</c:v>
                </c:pt>
                <c:pt idx="288">
                  <c:v>0.59008381147819799</c:v>
                </c:pt>
                <c:pt idx="289">
                  <c:v>-0.119826329677796</c:v>
                </c:pt>
                <c:pt idx="290">
                  <c:v>-0.38405381644409398</c:v>
                </c:pt>
                <c:pt idx="291">
                  <c:v>-0.48070263619200398</c:v>
                </c:pt>
                <c:pt idx="292">
                  <c:v>-0.364938048950669</c:v>
                </c:pt>
                <c:pt idx="293">
                  <c:v>-0.20900375053489201</c:v>
                </c:pt>
                <c:pt idx="294">
                  <c:v>-0.22247938642589901</c:v>
                </c:pt>
                <c:pt idx="295">
                  <c:v>0.16854435260678699</c:v>
                </c:pt>
                <c:pt idx="296">
                  <c:v>-0.51940024899026904</c:v>
                </c:pt>
                <c:pt idx="297">
                  <c:v>0.13249810093970801</c:v>
                </c:pt>
                <c:pt idx="298">
                  <c:v>7.9208522325707603E-2</c:v>
                </c:pt>
                <c:pt idx="299">
                  <c:v>8.58449925207629E-2</c:v>
                </c:pt>
                <c:pt idx="300">
                  <c:v>-0.20222137633503601</c:v>
                </c:pt>
                <c:pt idx="301">
                  <c:v>-0.39320834389015702</c:v>
                </c:pt>
                <c:pt idx="302">
                  <c:v>0.61007020590167005</c:v>
                </c:pt>
                <c:pt idx="303">
                  <c:v>-2.5773330205717E-2</c:v>
                </c:pt>
                <c:pt idx="304">
                  <c:v>-0.37507666869148798</c:v>
                </c:pt>
                <c:pt idx="305">
                  <c:v>-4.8630269362869599E-2</c:v>
                </c:pt>
                <c:pt idx="306">
                  <c:v>-0.39896959149197198</c:v>
                </c:pt>
                <c:pt idx="307">
                  <c:v>8.1757094795707197E-3</c:v>
                </c:pt>
                <c:pt idx="308">
                  <c:v>-4.94236608002162E-2</c:v>
                </c:pt>
                <c:pt idx="309">
                  <c:v>-0.12574982697919501</c:v>
                </c:pt>
                <c:pt idx="310">
                  <c:v>-3.2855605016512399E-2</c:v>
                </c:pt>
                <c:pt idx="311">
                  <c:v>-0.189466723465925</c:v>
                </c:pt>
                <c:pt idx="312">
                  <c:v>-3.9470620268075601E-2</c:v>
                </c:pt>
                <c:pt idx="313">
                  <c:v>-0.15988546948145199</c:v>
                </c:pt>
                <c:pt idx="314">
                  <c:v>-0.491407747452976</c:v>
                </c:pt>
                <c:pt idx="315">
                  <c:v>-0.24051723570119801</c:v>
                </c:pt>
                <c:pt idx="316">
                  <c:v>-0.22451352575476699</c:v>
                </c:pt>
                <c:pt idx="317">
                  <c:v>-9.8053362987501294E-2</c:v>
                </c:pt>
                <c:pt idx="318">
                  <c:v>-9.7283741538432306E-2</c:v>
                </c:pt>
                <c:pt idx="319">
                  <c:v>-0.118088094820894</c:v>
                </c:pt>
                <c:pt idx="320">
                  <c:v>-0.25448364607298102</c:v>
                </c:pt>
                <c:pt idx="321">
                  <c:v>-4.4372841473754102E-2</c:v>
                </c:pt>
                <c:pt idx="322">
                  <c:v>0.96011553393208104</c:v>
                </c:pt>
                <c:pt idx="323">
                  <c:v>0.67247139835579195</c:v>
                </c:pt>
                <c:pt idx="324">
                  <c:v>-6.6711740619446597E-2</c:v>
                </c:pt>
                <c:pt idx="325">
                  <c:v>-0.21937447786938899</c:v>
                </c:pt>
                <c:pt idx="326">
                  <c:v>5.3535046597622801E-2</c:v>
                </c:pt>
                <c:pt idx="327">
                  <c:v>9.6804799289498297E-2</c:v>
                </c:pt>
                <c:pt idx="328">
                  <c:v>7.0722053821205499E-2</c:v>
                </c:pt>
                <c:pt idx="329">
                  <c:v>-0.145586063700368</c:v>
                </c:pt>
                <c:pt idx="330">
                  <c:v>-0.38744894318364997</c:v>
                </c:pt>
                <c:pt idx="331">
                  <c:v>-0.298832463520604</c:v>
                </c:pt>
                <c:pt idx="332">
                  <c:v>-0.36970801395117098</c:v>
                </c:pt>
                <c:pt idx="333">
                  <c:v>-0.36914752396665901</c:v>
                </c:pt>
                <c:pt idx="334">
                  <c:v>-1.2537945648013599E-2</c:v>
                </c:pt>
                <c:pt idx="335">
                  <c:v>6.2202935163931598E-2</c:v>
                </c:pt>
                <c:pt idx="336">
                  <c:v>-0.33540656662045598</c:v>
                </c:pt>
                <c:pt idx="337">
                  <c:v>-0.19641740864013599</c:v>
                </c:pt>
                <c:pt idx="338">
                  <c:v>3.7295047549687203E-2</c:v>
                </c:pt>
                <c:pt idx="339">
                  <c:v>-3.2018390147399003E-2</c:v>
                </c:pt>
                <c:pt idx="340">
                  <c:v>4.3766500424405198E-2</c:v>
                </c:pt>
                <c:pt idx="341">
                  <c:v>-0.23682305509367499</c:v>
                </c:pt>
                <c:pt idx="342">
                  <c:v>5.2452433024775202E-2</c:v>
                </c:pt>
                <c:pt idx="343">
                  <c:v>-0.32558991605241799</c:v>
                </c:pt>
                <c:pt idx="344">
                  <c:v>0.18282670308290599</c:v>
                </c:pt>
                <c:pt idx="345">
                  <c:v>1.08250533572642E-2</c:v>
                </c:pt>
                <c:pt idx="346">
                  <c:v>-0.49862784081453299</c:v>
                </c:pt>
                <c:pt idx="347">
                  <c:v>-0.210583781021634</c:v>
                </c:pt>
                <c:pt idx="348">
                  <c:v>-0.13017513322510699</c:v>
                </c:pt>
                <c:pt idx="349">
                  <c:v>6.24445111986607E-2</c:v>
                </c:pt>
                <c:pt idx="350">
                  <c:v>-0.32267793220483199</c:v>
                </c:pt>
                <c:pt idx="351">
                  <c:v>-0.17676746035309701</c:v>
                </c:pt>
                <c:pt idx="352">
                  <c:v>-2.78267390216872E-2</c:v>
                </c:pt>
                <c:pt idx="353">
                  <c:v>-0.149296001995919</c:v>
                </c:pt>
                <c:pt idx="354">
                  <c:v>-0.31313337415961101</c:v>
                </c:pt>
                <c:pt idx="355">
                  <c:v>0.52076897090079899</c:v>
                </c:pt>
                <c:pt idx="356">
                  <c:v>0.24198882073985101</c:v>
                </c:pt>
                <c:pt idx="357">
                  <c:v>0.68765014728820295</c:v>
                </c:pt>
                <c:pt idx="358">
                  <c:v>0.65241697930103804</c:v>
                </c:pt>
                <c:pt idx="359">
                  <c:v>-0.237526432718666</c:v>
                </c:pt>
                <c:pt idx="360">
                  <c:v>-0.13072489070903701</c:v>
                </c:pt>
                <c:pt idx="361">
                  <c:v>6.51840269623334E-2</c:v>
                </c:pt>
                <c:pt idx="362">
                  <c:v>6.1418849816029103E-2</c:v>
                </c:pt>
                <c:pt idx="363">
                  <c:v>-2.4498033760212401E-3</c:v>
                </c:pt>
                <c:pt idx="364">
                  <c:v>-0.17384918042997699</c:v>
                </c:pt>
                <c:pt idx="365">
                  <c:v>-0.29502854062156703</c:v>
                </c:pt>
                <c:pt idx="366">
                  <c:v>-5.2383612718879702E-2</c:v>
                </c:pt>
                <c:pt idx="367">
                  <c:v>-0.30354719194010898</c:v>
                </c:pt>
                <c:pt idx="368">
                  <c:v>8.9368653802435697E-3</c:v>
                </c:pt>
                <c:pt idx="369">
                  <c:v>0.11184953283396</c:v>
                </c:pt>
                <c:pt idx="370">
                  <c:v>-0.13617186527349401</c:v>
                </c:pt>
                <c:pt idx="371">
                  <c:v>-9.9914854104629802E-2</c:v>
                </c:pt>
                <c:pt idx="372">
                  <c:v>0.148412856692273</c:v>
                </c:pt>
                <c:pt idx="373">
                  <c:v>2.3806660441149999E-2</c:v>
                </c:pt>
                <c:pt idx="374">
                  <c:v>-0.32508650318536503</c:v>
                </c:pt>
                <c:pt idx="375">
                  <c:v>4.1266102793263898E-2</c:v>
                </c:pt>
                <c:pt idx="376">
                  <c:v>-0.20562950914976699</c:v>
                </c:pt>
                <c:pt idx="377">
                  <c:v>0.67499617059908301</c:v>
                </c:pt>
                <c:pt idx="378">
                  <c:v>0.68867884438638505</c:v>
                </c:pt>
                <c:pt idx="379">
                  <c:v>0.45510836052199499</c:v>
                </c:pt>
              </c:numCache>
            </c:numRef>
          </c:xVal>
          <c:yVal>
            <c:numRef>
              <c:f>'PCA-plot'!$C$2:$C$381</c:f>
              <c:numCache>
                <c:formatCode>General</c:formatCode>
                <c:ptCount val="380"/>
                <c:pt idx="0">
                  <c:v>-0.33707079565432302</c:v>
                </c:pt>
                <c:pt idx="1">
                  <c:v>-0.27258301730706902</c:v>
                </c:pt>
                <c:pt idx="2">
                  <c:v>-0.30924222758106501</c:v>
                </c:pt>
                <c:pt idx="3">
                  <c:v>0.128759388461472</c:v>
                </c:pt>
                <c:pt idx="4">
                  <c:v>-0.274226382508299</c:v>
                </c:pt>
                <c:pt idx="5">
                  <c:v>-0.280855959225284</c:v>
                </c:pt>
                <c:pt idx="6">
                  <c:v>-0.200074461936604</c:v>
                </c:pt>
                <c:pt idx="7">
                  <c:v>-1.9073181883086501E-2</c:v>
                </c:pt>
                <c:pt idx="8">
                  <c:v>-0.34492932160541401</c:v>
                </c:pt>
                <c:pt idx="9">
                  <c:v>7.9947097981305004E-2</c:v>
                </c:pt>
                <c:pt idx="10">
                  <c:v>-0.766389516033256</c:v>
                </c:pt>
                <c:pt idx="11">
                  <c:v>6.4762168312356594E-2</c:v>
                </c:pt>
                <c:pt idx="12">
                  <c:v>-0.219727053111934</c:v>
                </c:pt>
                <c:pt idx="13">
                  <c:v>8.8552142772192102E-2</c:v>
                </c:pt>
                <c:pt idx="14">
                  <c:v>-0.128675150947658</c:v>
                </c:pt>
                <c:pt idx="15">
                  <c:v>-0.50874710991142402</c:v>
                </c:pt>
                <c:pt idx="16">
                  <c:v>0.18358196103139199</c:v>
                </c:pt>
                <c:pt idx="17">
                  <c:v>-9.6163842810030598E-2</c:v>
                </c:pt>
                <c:pt idx="18">
                  <c:v>-7.6725262384305298E-2</c:v>
                </c:pt>
                <c:pt idx="19">
                  <c:v>4.8020435390495102E-2</c:v>
                </c:pt>
                <c:pt idx="20">
                  <c:v>-0.155745434193576</c:v>
                </c:pt>
                <c:pt idx="21">
                  <c:v>3.4585928376845302E-3</c:v>
                </c:pt>
                <c:pt idx="22">
                  <c:v>-0.35347062975411903</c:v>
                </c:pt>
                <c:pt idx="23">
                  <c:v>9.4427688030165893E-2</c:v>
                </c:pt>
                <c:pt idx="24">
                  <c:v>5.6892552871513798E-2</c:v>
                </c:pt>
                <c:pt idx="25">
                  <c:v>-7.4174039146175402E-2</c:v>
                </c:pt>
                <c:pt idx="26">
                  <c:v>0.18416875822443499</c:v>
                </c:pt>
                <c:pt idx="27">
                  <c:v>0.22782001190606799</c:v>
                </c:pt>
                <c:pt idx="28">
                  <c:v>0.34959193359845198</c:v>
                </c:pt>
                <c:pt idx="29">
                  <c:v>0.15392290511426501</c:v>
                </c:pt>
                <c:pt idx="30">
                  <c:v>0.112210577348675</c:v>
                </c:pt>
                <c:pt idx="31">
                  <c:v>0.20592912939590199</c:v>
                </c:pt>
                <c:pt idx="32">
                  <c:v>9.3403743719456308E-3</c:v>
                </c:pt>
                <c:pt idx="33">
                  <c:v>3.9570682517853499E-2</c:v>
                </c:pt>
                <c:pt idx="34">
                  <c:v>0.19038819910169599</c:v>
                </c:pt>
                <c:pt idx="35">
                  <c:v>0.146002166352135</c:v>
                </c:pt>
                <c:pt idx="36">
                  <c:v>4.1230700093434602E-2</c:v>
                </c:pt>
                <c:pt idx="37">
                  <c:v>0.30972541225543199</c:v>
                </c:pt>
                <c:pt idx="38">
                  <c:v>9.3518133173009999E-2</c:v>
                </c:pt>
                <c:pt idx="39">
                  <c:v>0.19330763036859999</c:v>
                </c:pt>
                <c:pt idx="40">
                  <c:v>0.29082826449112797</c:v>
                </c:pt>
                <c:pt idx="41">
                  <c:v>0.30951222299896503</c:v>
                </c:pt>
                <c:pt idx="42">
                  <c:v>0.104104822064568</c:v>
                </c:pt>
                <c:pt idx="43">
                  <c:v>2.7926035969568299E-2</c:v>
                </c:pt>
                <c:pt idx="44">
                  <c:v>-2.15736631178336E-2</c:v>
                </c:pt>
                <c:pt idx="45">
                  <c:v>-0.1485438095528</c:v>
                </c:pt>
                <c:pt idx="46">
                  <c:v>0.20238001719427201</c:v>
                </c:pt>
                <c:pt idx="47">
                  <c:v>9.5646891897433806E-2</c:v>
                </c:pt>
                <c:pt idx="48">
                  <c:v>5.4963321574590399E-2</c:v>
                </c:pt>
                <c:pt idx="49">
                  <c:v>0.30371524684004098</c:v>
                </c:pt>
                <c:pt idx="50">
                  <c:v>0.33350086199833201</c:v>
                </c:pt>
                <c:pt idx="51">
                  <c:v>0.271316066836436</c:v>
                </c:pt>
                <c:pt idx="52">
                  <c:v>0.257100196362819</c:v>
                </c:pt>
                <c:pt idx="53">
                  <c:v>0.20121232124407801</c:v>
                </c:pt>
                <c:pt idx="54">
                  <c:v>7.7687903401312602E-3</c:v>
                </c:pt>
                <c:pt idx="55">
                  <c:v>0.16490676796015899</c:v>
                </c:pt>
                <c:pt idx="56">
                  <c:v>0.27648611181984001</c:v>
                </c:pt>
                <c:pt idx="57">
                  <c:v>0.29323686838831298</c:v>
                </c:pt>
                <c:pt idx="58">
                  <c:v>0.105717829399297</c:v>
                </c:pt>
                <c:pt idx="59">
                  <c:v>-6.39737154024035E-2</c:v>
                </c:pt>
                <c:pt idx="60">
                  <c:v>0.17642039243723001</c:v>
                </c:pt>
                <c:pt idx="61">
                  <c:v>-0.13453352001041</c:v>
                </c:pt>
                <c:pt idx="62">
                  <c:v>-1.01609576016564E-2</c:v>
                </c:pt>
                <c:pt idx="63">
                  <c:v>0.125925812445217</c:v>
                </c:pt>
                <c:pt idx="64">
                  <c:v>5.1184288044688303E-2</c:v>
                </c:pt>
                <c:pt idx="65">
                  <c:v>0.24665144501400499</c:v>
                </c:pt>
                <c:pt idx="66">
                  <c:v>-0.25761554558032201</c:v>
                </c:pt>
                <c:pt idx="67">
                  <c:v>0.27028178421415</c:v>
                </c:pt>
                <c:pt idx="68">
                  <c:v>0.203715473668279</c:v>
                </c:pt>
                <c:pt idx="69">
                  <c:v>1.9125313604300701E-2</c:v>
                </c:pt>
                <c:pt idx="70">
                  <c:v>0.120892010449987</c:v>
                </c:pt>
                <c:pt idx="71">
                  <c:v>0.19352374201529099</c:v>
                </c:pt>
                <c:pt idx="72">
                  <c:v>7.2772981445750104E-2</c:v>
                </c:pt>
                <c:pt idx="73">
                  <c:v>0.360713245106625</c:v>
                </c:pt>
                <c:pt idx="74">
                  <c:v>0.32552552267504797</c:v>
                </c:pt>
                <c:pt idx="75">
                  <c:v>0.285131859784716</c:v>
                </c:pt>
                <c:pt idx="76">
                  <c:v>0.28787579807580099</c:v>
                </c:pt>
                <c:pt idx="77">
                  <c:v>-0.35889509459493701</c:v>
                </c:pt>
                <c:pt idx="78">
                  <c:v>8.4358920394366793E-2</c:v>
                </c:pt>
                <c:pt idx="79">
                  <c:v>-8.4058389437199801E-2</c:v>
                </c:pt>
                <c:pt idx="80">
                  <c:v>-4.54025501603302E-2</c:v>
                </c:pt>
                <c:pt idx="81">
                  <c:v>-0.13007705228619901</c:v>
                </c:pt>
                <c:pt idx="82">
                  <c:v>0.15977190833534399</c:v>
                </c:pt>
                <c:pt idx="83">
                  <c:v>3.3268363433676298E-2</c:v>
                </c:pt>
                <c:pt idx="84">
                  <c:v>-0.374972742960551</c:v>
                </c:pt>
                <c:pt idx="85">
                  <c:v>-0.21446907401603599</c:v>
                </c:pt>
                <c:pt idx="86">
                  <c:v>-0.16617998368654499</c:v>
                </c:pt>
                <c:pt idx="87">
                  <c:v>0.18063274300459201</c:v>
                </c:pt>
                <c:pt idx="88">
                  <c:v>-4.5841332503130702E-2</c:v>
                </c:pt>
                <c:pt idx="89">
                  <c:v>0.32500034019843999</c:v>
                </c:pt>
                <c:pt idx="90">
                  <c:v>0.25521085707042801</c:v>
                </c:pt>
                <c:pt idx="91">
                  <c:v>6.9612818101276494E-2</c:v>
                </c:pt>
                <c:pt idx="92">
                  <c:v>0.42764221732006302</c:v>
                </c:pt>
                <c:pt idx="93">
                  <c:v>0.31923771793960798</c:v>
                </c:pt>
                <c:pt idx="94">
                  <c:v>0.40008990304467801</c:v>
                </c:pt>
                <c:pt idx="95">
                  <c:v>0.45383136964050402</c:v>
                </c:pt>
                <c:pt idx="96">
                  <c:v>-9.0943543178514899E-2</c:v>
                </c:pt>
                <c:pt idx="97">
                  <c:v>-4.8644915914152403E-2</c:v>
                </c:pt>
                <c:pt idx="98">
                  <c:v>-9.2733397274920595E-2</c:v>
                </c:pt>
                <c:pt idx="99">
                  <c:v>0.24837861454191301</c:v>
                </c:pt>
                <c:pt idx="100">
                  <c:v>0.242437001846526</c:v>
                </c:pt>
                <c:pt idx="101">
                  <c:v>0.38126191174769802</c:v>
                </c:pt>
                <c:pt idx="102">
                  <c:v>0.17718869520942701</c:v>
                </c:pt>
                <c:pt idx="103">
                  <c:v>0.345950746516623</c:v>
                </c:pt>
                <c:pt idx="104">
                  <c:v>0.39428649487885897</c:v>
                </c:pt>
                <c:pt idx="105">
                  <c:v>0.367282337642648</c:v>
                </c:pt>
                <c:pt idx="106">
                  <c:v>6.7287493130916101E-2</c:v>
                </c:pt>
                <c:pt idx="107">
                  <c:v>0.26960433319048399</c:v>
                </c:pt>
                <c:pt idx="108">
                  <c:v>0.137285105996689</c:v>
                </c:pt>
                <c:pt idx="109">
                  <c:v>0.24327672648304099</c:v>
                </c:pt>
                <c:pt idx="110">
                  <c:v>0.14923606379926399</c:v>
                </c:pt>
                <c:pt idx="111">
                  <c:v>0.46671552879641698</c:v>
                </c:pt>
                <c:pt idx="112">
                  <c:v>0.40176077996302201</c:v>
                </c:pt>
                <c:pt idx="113">
                  <c:v>0.36748161044676603</c:v>
                </c:pt>
                <c:pt idx="114">
                  <c:v>0.30676459004672901</c:v>
                </c:pt>
                <c:pt idx="115">
                  <c:v>-0.77832142194985898</c:v>
                </c:pt>
                <c:pt idx="116">
                  <c:v>-0.55827319803975906</c:v>
                </c:pt>
                <c:pt idx="117">
                  <c:v>-0.35719439679904302</c:v>
                </c:pt>
                <c:pt idx="118">
                  <c:v>-0.38053181548458398</c:v>
                </c:pt>
                <c:pt idx="119">
                  <c:v>-0.63412006187292203</c:v>
                </c:pt>
                <c:pt idx="120">
                  <c:v>-0.67226213136264301</c:v>
                </c:pt>
                <c:pt idx="121">
                  <c:v>-0.35588661583340098</c:v>
                </c:pt>
                <c:pt idx="122">
                  <c:v>0.29210954663566302</c:v>
                </c:pt>
                <c:pt idx="123">
                  <c:v>-0.51781469826769999</c:v>
                </c:pt>
                <c:pt idx="124">
                  <c:v>-0.40302162869274299</c:v>
                </c:pt>
                <c:pt idx="125">
                  <c:v>-0.12189237963024201</c:v>
                </c:pt>
                <c:pt idx="126">
                  <c:v>-0.34324167171909298</c:v>
                </c:pt>
                <c:pt idx="127">
                  <c:v>-0.59423963304772398</c:v>
                </c:pt>
                <c:pt idx="128">
                  <c:v>0.14977107836713399</c:v>
                </c:pt>
                <c:pt idx="129">
                  <c:v>0.13548461816951901</c:v>
                </c:pt>
                <c:pt idx="130">
                  <c:v>-0.71840614854677898</c:v>
                </c:pt>
                <c:pt idx="131">
                  <c:v>0.15384846819857001</c:v>
                </c:pt>
                <c:pt idx="132">
                  <c:v>-0.46575859590904201</c:v>
                </c:pt>
                <c:pt idx="133">
                  <c:v>-0.74153334347239797</c:v>
                </c:pt>
                <c:pt idx="134">
                  <c:v>0.49748882216616702</c:v>
                </c:pt>
                <c:pt idx="135">
                  <c:v>0.21506587760047499</c:v>
                </c:pt>
                <c:pt idx="136">
                  <c:v>0.223553727094218</c:v>
                </c:pt>
                <c:pt idx="137">
                  <c:v>0.144952509915759</c:v>
                </c:pt>
                <c:pt idx="138">
                  <c:v>0.16123420609435801</c:v>
                </c:pt>
                <c:pt idx="139">
                  <c:v>-5.0331882678359301E-2</c:v>
                </c:pt>
                <c:pt idx="140">
                  <c:v>0.32571461368924698</c:v>
                </c:pt>
                <c:pt idx="141">
                  <c:v>-0.32282199061246197</c:v>
                </c:pt>
                <c:pt idx="142">
                  <c:v>-0.16683853497943699</c:v>
                </c:pt>
                <c:pt idx="143">
                  <c:v>-8.5186427124801206E-2</c:v>
                </c:pt>
                <c:pt idx="144">
                  <c:v>-0.594928741003108</c:v>
                </c:pt>
                <c:pt idx="145">
                  <c:v>0.30006414120101399</c:v>
                </c:pt>
                <c:pt idx="146">
                  <c:v>0.17086251465148999</c:v>
                </c:pt>
                <c:pt idx="147">
                  <c:v>0.43987689702236399</c:v>
                </c:pt>
                <c:pt idx="148">
                  <c:v>8.4683113941472099E-2</c:v>
                </c:pt>
                <c:pt idx="149">
                  <c:v>0.14341302291038399</c:v>
                </c:pt>
                <c:pt idx="150">
                  <c:v>2.5261633621368899E-2</c:v>
                </c:pt>
                <c:pt idx="151">
                  <c:v>0.12609723991035601</c:v>
                </c:pt>
                <c:pt idx="152">
                  <c:v>0.326122290739777</c:v>
                </c:pt>
                <c:pt idx="153">
                  <c:v>-0.13406865409333801</c:v>
                </c:pt>
                <c:pt idx="154">
                  <c:v>-0.57861964613685302</c:v>
                </c:pt>
                <c:pt idx="155">
                  <c:v>0.156805599355124</c:v>
                </c:pt>
                <c:pt idx="156">
                  <c:v>0.19818248179377701</c:v>
                </c:pt>
                <c:pt idx="157">
                  <c:v>-0.86653046151327096</c:v>
                </c:pt>
                <c:pt idx="158">
                  <c:v>0.34494253283667597</c:v>
                </c:pt>
                <c:pt idx="159">
                  <c:v>0.217826916981993</c:v>
                </c:pt>
                <c:pt idx="160">
                  <c:v>0.33517744998732601</c:v>
                </c:pt>
                <c:pt idx="161">
                  <c:v>2.3779763397409202E-2</c:v>
                </c:pt>
                <c:pt idx="162">
                  <c:v>6.1156789906882003E-2</c:v>
                </c:pt>
                <c:pt idx="163">
                  <c:v>0.29837500418982099</c:v>
                </c:pt>
                <c:pt idx="164">
                  <c:v>0.34301526049408398</c:v>
                </c:pt>
                <c:pt idx="165">
                  <c:v>0.42647278580827302</c:v>
                </c:pt>
                <c:pt idx="166">
                  <c:v>0.28504487145023899</c:v>
                </c:pt>
                <c:pt idx="167">
                  <c:v>-0.69464266064052305</c:v>
                </c:pt>
                <c:pt idx="168">
                  <c:v>0.34434949229504203</c:v>
                </c:pt>
                <c:pt idx="169">
                  <c:v>-0.236916694804578</c:v>
                </c:pt>
                <c:pt idx="170">
                  <c:v>4.9128748741968696E-3</c:v>
                </c:pt>
                <c:pt idx="171">
                  <c:v>0.25749943084544602</c:v>
                </c:pt>
                <c:pt idx="172">
                  <c:v>0.419675660141614</c:v>
                </c:pt>
                <c:pt idx="173">
                  <c:v>0.13652547617979599</c:v>
                </c:pt>
                <c:pt idx="174">
                  <c:v>0.27698876964587898</c:v>
                </c:pt>
                <c:pt idx="175">
                  <c:v>0.48658180570051801</c:v>
                </c:pt>
                <c:pt idx="176">
                  <c:v>0.26137645578431101</c:v>
                </c:pt>
                <c:pt idx="177">
                  <c:v>0.224141135159306</c:v>
                </c:pt>
                <c:pt idx="178">
                  <c:v>0.402536089451066</c:v>
                </c:pt>
                <c:pt idx="179">
                  <c:v>-0.24807151553867601</c:v>
                </c:pt>
                <c:pt idx="180">
                  <c:v>-2.1720931258787199E-2</c:v>
                </c:pt>
                <c:pt idx="181">
                  <c:v>-9.8613850235390196E-2</c:v>
                </c:pt>
                <c:pt idx="182">
                  <c:v>-9.4301993664751092E-3</c:v>
                </c:pt>
                <c:pt idx="183">
                  <c:v>-7.10493221127559E-2</c:v>
                </c:pt>
                <c:pt idx="184">
                  <c:v>0.114888291232107</c:v>
                </c:pt>
                <c:pt idx="185">
                  <c:v>-9.4296527646973397E-2</c:v>
                </c:pt>
                <c:pt idx="186">
                  <c:v>0.19034715201806199</c:v>
                </c:pt>
                <c:pt idx="187">
                  <c:v>-0.17665549577959899</c:v>
                </c:pt>
                <c:pt idx="188">
                  <c:v>0.22067954305950799</c:v>
                </c:pt>
                <c:pt idx="189">
                  <c:v>-8.5147762944943001E-2</c:v>
                </c:pt>
                <c:pt idx="190">
                  <c:v>0.27525058430273902</c:v>
                </c:pt>
                <c:pt idx="191">
                  <c:v>0.314168728763007</c:v>
                </c:pt>
                <c:pt idx="192">
                  <c:v>-1.0579013859787501</c:v>
                </c:pt>
                <c:pt idx="193">
                  <c:v>-0.82715439718193895</c:v>
                </c:pt>
                <c:pt idx="194">
                  <c:v>-0.76759231858393395</c:v>
                </c:pt>
                <c:pt idx="195">
                  <c:v>-0.86775674788055701</c:v>
                </c:pt>
                <c:pt idx="196">
                  <c:v>-0.65335760048293601</c:v>
                </c:pt>
                <c:pt idx="197">
                  <c:v>-1.12376152373204</c:v>
                </c:pt>
                <c:pt idx="198">
                  <c:v>-0.56264032982538803</c:v>
                </c:pt>
                <c:pt idx="199">
                  <c:v>-0.39668045041424899</c:v>
                </c:pt>
                <c:pt idx="200">
                  <c:v>-0.93101051666338996</c:v>
                </c:pt>
                <c:pt idx="201">
                  <c:v>-0.42634911536575798</c:v>
                </c:pt>
                <c:pt idx="202">
                  <c:v>-0.47283398947385202</c:v>
                </c:pt>
                <c:pt idx="203">
                  <c:v>-0.64648120084847904</c:v>
                </c:pt>
                <c:pt idx="204">
                  <c:v>-0.764684555005819</c:v>
                </c:pt>
                <c:pt idx="205">
                  <c:v>-0.53222589004839205</c:v>
                </c:pt>
                <c:pt idx="206">
                  <c:v>-0.80524042099961901</c:v>
                </c:pt>
                <c:pt idx="207">
                  <c:v>-0.81924867409024205</c:v>
                </c:pt>
                <c:pt idx="208">
                  <c:v>-0.43184125068719098</c:v>
                </c:pt>
                <c:pt idx="209">
                  <c:v>-0.58860540207540601</c:v>
                </c:pt>
                <c:pt idx="210">
                  <c:v>-0.76058251621579598</c:v>
                </c:pt>
                <c:pt idx="211">
                  <c:v>-0.109748474132776</c:v>
                </c:pt>
                <c:pt idx="212">
                  <c:v>6.1007368930817998E-2</c:v>
                </c:pt>
                <c:pt idx="213">
                  <c:v>0.34420358329825801</c:v>
                </c:pt>
                <c:pt idx="214">
                  <c:v>0.21459443738748801</c:v>
                </c:pt>
                <c:pt idx="215">
                  <c:v>0.17363962738732699</c:v>
                </c:pt>
                <c:pt idx="216">
                  <c:v>0.35440656299284101</c:v>
                </c:pt>
                <c:pt idx="217">
                  <c:v>-5.2422758709075597E-2</c:v>
                </c:pt>
                <c:pt idx="218">
                  <c:v>0.34537825325579602</c:v>
                </c:pt>
                <c:pt idx="219">
                  <c:v>0.37579585561149698</c:v>
                </c:pt>
                <c:pt idx="220">
                  <c:v>0.176641347004236</c:v>
                </c:pt>
                <c:pt idx="221">
                  <c:v>0.41545755210306201</c:v>
                </c:pt>
                <c:pt idx="222">
                  <c:v>0.36553055690897401</c:v>
                </c:pt>
                <c:pt idx="223">
                  <c:v>0.33028653390219798</c:v>
                </c:pt>
                <c:pt idx="224">
                  <c:v>0.42567184195318197</c:v>
                </c:pt>
                <c:pt idx="225">
                  <c:v>0.32037110482783998</c:v>
                </c:pt>
                <c:pt idx="226">
                  <c:v>0.351434266182584</c:v>
                </c:pt>
                <c:pt idx="227">
                  <c:v>0.26852619779857001</c:v>
                </c:pt>
                <c:pt idx="228">
                  <c:v>0.44564730251741602</c:v>
                </c:pt>
                <c:pt idx="229">
                  <c:v>0.36451355727252299</c:v>
                </c:pt>
                <c:pt idx="230">
                  <c:v>0.28453545379620498</c:v>
                </c:pt>
                <c:pt idx="231">
                  <c:v>0.46720920795231802</c:v>
                </c:pt>
                <c:pt idx="232">
                  <c:v>0.479629007781401</c:v>
                </c:pt>
                <c:pt idx="233">
                  <c:v>-0.151562722035988</c:v>
                </c:pt>
                <c:pt idx="234">
                  <c:v>-0.104640182736746</c:v>
                </c:pt>
                <c:pt idx="235">
                  <c:v>1.9069338875202999E-2</c:v>
                </c:pt>
                <c:pt idx="236">
                  <c:v>-0.42115871007488898</c:v>
                </c:pt>
                <c:pt idx="237">
                  <c:v>-3.09266808621983E-2</c:v>
                </c:pt>
                <c:pt idx="238">
                  <c:v>3.9621712812407298E-2</c:v>
                </c:pt>
                <c:pt idx="239">
                  <c:v>-0.14787081035239</c:v>
                </c:pt>
                <c:pt idx="240">
                  <c:v>-7.5868127304940094E-2</c:v>
                </c:pt>
                <c:pt idx="241">
                  <c:v>-0.14553639211421299</c:v>
                </c:pt>
                <c:pt idx="242">
                  <c:v>2.5240421311811301E-2</c:v>
                </c:pt>
                <c:pt idx="243">
                  <c:v>-0.353907291275316</c:v>
                </c:pt>
                <c:pt idx="244">
                  <c:v>-0.21604435986903001</c:v>
                </c:pt>
                <c:pt idx="245">
                  <c:v>0.10221958134588401</c:v>
                </c:pt>
                <c:pt idx="246">
                  <c:v>-0.31039546117301903</c:v>
                </c:pt>
                <c:pt idx="247">
                  <c:v>-0.209012554200181</c:v>
                </c:pt>
                <c:pt idx="248">
                  <c:v>3.9355060356684499E-2</c:v>
                </c:pt>
                <c:pt idx="249">
                  <c:v>0.364970391933438</c:v>
                </c:pt>
                <c:pt idx="250">
                  <c:v>0.41285844168022101</c:v>
                </c:pt>
                <c:pt idx="251">
                  <c:v>0.29471000542540998</c:v>
                </c:pt>
                <c:pt idx="252">
                  <c:v>0.262488791612283</c:v>
                </c:pt>
                <c:pt idx="253">
                  <c:v>-0.373716551989284</c:v>
                </c:pt>
                <c:pt idx="254">
                  <c:v>-0.67358510183378595</c:v>
                </c:pt>
                <c:pt idx="255">
                  <c:v>-0.54871160933834395</c:v>
                </c:pt>
                <c:pt idx="256">
                  <c:v>-7.6621243639130004E-2</c:v>
                </c:pt>
                <c:pt idx="257">
                  <c:v>9.9094424582778697E-3</c:v>
                </c:pt>
                <c:pt idx="258">
                  <c:v>0.12767348399234099</c:v>
                </c:pt>
                <c:pt idx="259">
                  <c:v>-0.119693899884565</c:v>
                </c:pt>
                <c:pt idx="260">
                  <c:v>-0.43338311394740398</c:v>
                </c:pt>
                <c:pt idx="261">
                  <c:v>2.7577840243951501E-2</c:v>
                </c:pt>
                <c:pt idx="262">
                  <c:v>-0.724699584643822</c:v>
                </c:pt>
                <c:pt idx="263">
                  <c:v>0.22125625541832</c:v>
                </c:pt>
                <c:pt idx="264">
                  <c:v>3.2574988614732701E-2</c:v>
                </c:pt>
                <c:pt idx="265">
                  <c:v>-0.28508419244049998</c:v>
                </c:pt>
                <c:pt idx="266">
                  <c:v>-0.51449338998537497</c:v>
                </c:pt>
                <c:pt idx="267">
                  <c:v>-9.0548890073077107E-2</c:v>
                </c:pt>
                <c:pt idx="268">
                  <c:v>0.17659079130781799</c:v>
                </c:pt>
                <c:pt idx="269">
                  <c:v>-0.27283672489904398</c:v>
                </c:pt>
                <c:pt idx="270">
                  <c:v>0.34418501610478203</c:v>
                </c:pt>
                <c:pt idx="271">
                  <c:v>0.38135826678465701</c:v>
                </c:pt>
                <c:pt idx="272">
                  <c:v>0.49479613549270401</c:v>
                </c:pt>
                <c:pt idx="273">
                  <c:v>0.33234239342414501</c:v>
                </c:pt>
                <c:pt idx="274">
                  <c:v>0.19202394838334799</c:v>
                </c:pt>
                <c:pt idx="275">
                  <c:v>0.25949605144957499</c:v>
                </c:pt>
                <c:pt idx="276">
                  <c:v>0.32338684569830001</c:v>
                </c:pt>
                <c:pt idx="277">
                  <c:v>0.45365749296805202</c:v>
                </c:pt>
                <c:pt idx="278">
                  <c:v>0.43721705039320702</c:v>
                </c:pt>
                <c:pt idx="279">
                  <c:v>0.34253410961556702</c:v>
                </c:pt>
                <c:pt idx="280">
                  <c:v>0.39777356339804698</c:v>
                </c:pt>
                <c:pt idx="281">
                  <c:v>0.34827867749659802</c:v>
                </c:pt>
                <c:pt idx="282">
                  <c:v>0.33072388224065402</c:v>
                </c:pt>
                <c:pt idx="283">
                  <c:v>0.37100720306117702</c:v>
                </c:pt>
                <c:pt idx="284">
                  <c:v>0.38457485003743003</c:v>
                </c:pt>
                <c:pt idx="285">
                  <c:v>0.33705370455738698</c:v>
                </c:pt>
                <c:pt idx="286">
                  <c:v>0.35176048321513698</c:v>
                </c:pt>
                <c:pt idx="287">
                  <c:v>0.37913168945524001</c:v>
                </c:pt>
                <c:pt idx="288">
                  <c:v>0.209452030804616</c:v>
                </c:pt>
                <c:pt idx="289">
                  <c:v>-0.16911179122832601</c:v>
                </c:pt>
                <c:pt idx="290">
                  <c:v>0.28683164753868601</c:v>
                </c:pt>
                <c:pt idx="291">
                  <c:v>0.25920859681714897</c:v>
                </c:pt>
                <c:pt idx="292">
                  <c:v>1.2749610774639901E-2</c:v>
                </c:pt>
                <c:pt idx="293">
                  <c:v>6.7241651277475695E-2</c:v>
                </c:pt>
                <c:pt idx="294">
                  <c:v>9.3990100683505398E-2</c:v>
                </c:pt>
                <c:pt idx="295">
                  <c:v>-8.9107597417225903E-2</c:v>
                </c:pt>
                <c:pt idx="296">
                  <c:v>0.18746467736692299</c:v>
                </c:pt>
                <c:pt idx="297">
                  <c:v>-0.170964234705208</c:v>
                </c:pt>
                <c:pt idx="298">
                  <c:v>-0.22967325353422899</c:v>
                </c:pt>
                <c:pt idx="299">
                  <c:v>-0.36286891443494002</c:v>
                </c:pt>
                <c:pt idx="300">
                  <c:v>1.55157190709401E-2</c:v>
                </c:pt>
                <c:pt idx="301">
                  <c:v>0.12673553446126001</c:v>
                </c:pt>
                <c:pt idx="302">
                  <c:v>0.27097682249891097</c:v>
                </c:pt>
                <c:pt idx="303">
                  <c:v>9.9832693854300894E-2</c:v>
                </c:pt>
                <c:pt idx="304">
                  <c:v>0.26936010236894598</c:v>
                </c:pt>
                <c:pt idx="305">
                  <c:v>-0.10133344005782501</c:v>
                </c:pt>
                <c:pt idx="306">
                  <c:v>0.20483052691286599</c:v>
                </c:pt>
                <c:pt idx="307">
                  <c:v>1.7868687402447E-2</c:v>
                </c:pt>
                <c:pt idx="308">
                  <c:v>-0.218929432531066</c:v>
                </c:pt>
                <c:pt idx="309">
                  <c:v>4.9218824859660103E-3</c:v>
                </c:pt>
                <c:pt idx="310">
                  <c:v>-4.8191844955237401E-2</c:v>
                </c:pt>
                <c:pt idx="311">
                  <c:v>0.24343756510188</c:v>
                </c:pt>
                <c:pt idx="312">
                  <c:v>-4.0880463733216001E-2</c:v>
                </c:pt>
                <c:pt idx="313">
                  <c:v>-7.9678695027364202E-2</c:v>
                </c:pt>
                <c:pt idx="314">
                  <c:v>0.20287851202687401</c:v>
                </c:pt>
                <c:pt idx="315">
                  <c:v>0.11007029754016</c:v>
                </c:pt>
                <c:pt idx="316">
                  <c:v>-0.114746224001411</c:v>
                </c:pt>
                <c:pt idx="317">
                  <c:v>-6.84314948607503E-2</c:v>
                </c:pt>
                <c:pt idx="318">
                  <c:v>0.16018910486770399</c:v>
                </c:pt>
                <c:pt idx="319">
                  <c:v>-8.8770400390695593E-3</c:v>
                </c:pt>
                <c:pt idx="320">
                  <c:v>0.33178028726131797</c:v>
                </c:pt>
                <c:pt idx="321">
                  <c:v>0.169062871885928</c:v>
                </c:pt>
                <c:pt idx="322">
                  <c:v>0.30761435491377498</c:v>
                </c:pt>
                <c:pt idx="323">
                  <c:v>0.30643237268467299</c:v>
                </c:pt>
                <c:pt idx="324">
                  <c:v>-0.40749930269930101</c:v>
                </c:pt>
                <c:pt idx="325">
                  <c:v>0.16391092121124701</c:v>
                </c:pt>
                <c:pt idx="326">
                  <c:v>-0.16839254686189001</c:v>
                </c:pt>
                <c:pt idx="327">
                  <c:v>-0.42276783806739399</c:v>
                </c:pt>
                <c:pt idx="328">
                  <c:v>-0.40652417608785602</c:v>
                </c:pt>
                <c:pt idx="329">
                  <c:v>-0.28858238580676498</c:v>
                </c:pt>
                <c:pt idx="330">
                  <c:v>0.10795353659871</c:v>
                </c:pt>
                <c:pt idx="331">
                  <c:v>-0.14288863760365</c:v>
                </c:pt>
                <c:pt idx="332">
                  <c:v>0.298913099567644</c:v>
                </c:pt>
                <c:pt idx="333">
                  <c:v>0.194738876474918</c:v>
                </c:pt>
                <c:pt idx="334">
                  <c:v>-0.353734912034815</c:v>
                </c:pt>
                <c:pt idx="335">
                  <c:v>0.13800644160197501</c:v>
                </c:pt>
                <c:pt idx="336">
                  <c:v>-0.18056554774731201</c:v>
                </c:pt>
                <c:pt idx="337">
                  <c:v>-0.106680164705035</c:v>
                </c:pt>
                <c:pt idx="338">
                  <c:v>-0.250305209010383</c:v>
                </c:pt>
                <c:pt idx="339">
                  <c:v>-0.208139905575112</c:v>
                </c:pt>
                <c:pt idx="340">
                  <c:v>-6.4531778851468199E-2</c:v>
                </c:pt>
                <c:pt idx="341">
                  <c:v>4.3120796094286797E-2</c:v>
                </c:pt>
                <c:pt idx="342">
                  <c:v>-0.23210882152732601</c:v>
                </c:pt>
                <c:pt idx="343">
                  <c:v>0.21667656241237601</c:v>
                </c:pt>
                <c:pt idx="344">
                  <c:v>-0.79926606035513004</c:v>
                </c:pt>
                <c:pt idx="345">
                  <c:v>-0.20354913891658499</c:v>
                </c:pt>
                <c:pt idx="346">
                  <c:v>0.207191248403441</c:v>
                </c:pt>
                <c:pt idx="347">
                  <c:v>-8.6697321990459902E-2</c:v>
                </c:pt>
                <c:pt idx="348">
                  <c:v>-0.33119055035823902</c:v>
                </c:pt>
                <c:pt idx="349">
                  <c:v>-0.23177773742045199</c:v>
                </c:pt>
                <c:pt idx="350">
                  <c:v>0.25835183279794799</c:v>
                </c:pt>
                <c:pt idx="351">
                  <c:v>9.6846998163000603E-2</c:v>
                </c:pt>
                <c:pt idx="352">
                  <c:v>-0.56823867732187106</c:v>
                </c:pt>
                <c:pt idx="353">
                  <c:v>0.25741131005086798</c:v>
                </c:pt>
                <c:pt idx="354">
                  <c:v>2.6389483798982E-2</c:v>
                </c:pt>
                <c:pt idx="355">
                  <c:v>0.33064261162932701</c:v>
                </c:pt>
                <c:pt idx="356">
                  <c:v>0.45902634884438498</c:v>
                </c:pt>
                <c:pt idx="357">
                  <c:v>0.15395547544315799</c:v>
                </c:pt>
                <c:pt idx="358">
                  <c:v>0.293798404778225</c:v>
                </c:pt>
                <c:pt idx="359">
                  <c:v>-0.206975700084682</c:v>
                </c:pt>
                <c:pt idx="360">
                  <c:v>-0.28638239797489501</c:v>
                </c:pt>
                <c:pt idx="361">
                  <c:v>-6.8180791816658398E-2</c:v>
                </c:pt>
                <c:pt idx="362">
                  <c:v>-0.29789976086582298</c:v>
                </c:pt>
                <c:pt idx="363">
                  <c:v>-0.244890326364989</c:v>
                </c:pt>
                <c:pt idx="364">
                  <c:v>-2.05180157292961E-2</c:v>
                </c:pt>
                <c:pt idx="365">
                  <c:v>-5.02018250342001E-2</c:v>
                </c:pt>
                <c:pt idx="366">
                  <c:v>-0.67378191188993197</c:v>
                </c:pt>
                <c:pt idx="367">
                  <c:v>-0.29895689738541298</c:v>
                </c:pt>
                <c:pt idx="368">
                  <c:v>-0.139790383927269</c:v>
                </c:pt>
                <c:pt idx="369">
                  <c:v>-0.85980342825976797</c:v>
                </c:pt>
                <c:pt idx="370">
                  <c:v>-0.268048182632035</c:v>
                </c:pt>
                <c:pt idx="371">
                  <c:v>2.6737183931075902E-2</c:v>
                </c:pt>
                <c:pt idx="372">
                  <c:v>-0.30420643809841502</c:v>
                </c:pt>
                <c:pt idx="373">
                  <c:v>-0.167164426060187</c:v>
                </c:pt>
                <c:pt idx="374">
                  <c:v>-0.33128748359934301</c:v>
                </c:pt>
                <c:pt idx="375">
                  <c:v>-3.7087684920529197E-2</c:v>
                </c:pt>
                <c:pt idx="376">
                  <c:v>7.4837495093951503E-2</c:v>
                </c:pt>
                <c:pt idx="377">
                  <c:v>0.26095546380536699</c:v>
                </c:pt>
                <c:pt idx="378">
                  <c:v>0.32364341170494298</c:v>
                </c:pt>
                <c:pt idx="379">
                  <c:v>0.244887528337812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BF8-4906-A71E-40A5D82627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56051279"/>
        <c:axId val="1219169983"/>
      </c:scatterChart>
      <c:valAx>
        <c:axId val="1356051279"/>
        <c:scaling>
          <c:orientation val="minMax"/>
          <c:max val="1"/>
          <c:min val="-0.60000000000000009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C1 - 21%</a:t>
                </a:r>
                <a:endParaRPr lang="pl-PL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1219169983"/>
        <c:crosses val="autoZero"/>
        <c:crossBetween val="midCat"/>
      </c:valAx>
      <c:valAx>
        <c:axId val="1219169983"/>
        <c:scaling>
          <c:orientation val="minMax"/>
          <c:max val="0.60000000000000009"/>
          <c:min val="-1.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C</a:t>
                </a:r>
                <a:r>
                  <a:rPr lang="en-US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 - 17%</a:t>
                </a:r>
                <a:endParaRPr lang="pl-PL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1356051279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6"/>
          <c:order val="0"/>
          <c:tx>
            <c:v>grupa 1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PCA-plot'!$F$2:$F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1.9830505242873098E-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3.4573700546720203E-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5.3342126290307698E-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6.7678456687975896E-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0.18630933211628201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0.11112613314471401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6.7517907928154194E-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3.4433598390235701E-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.68663856669175E-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8.9710327465612003E-3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9.1762065846753102E-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4.2268254529659398E-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4.3665363441058598E-2</c:v>
                </c:pt>
                <c:pt idx="262">
                  <c:v>2</c:v>
                </c:pt>
                <c:pt idx="263">
                  <c:v>0.13236843575460799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8.4082966779211205E-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8.1757094795707197E-3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6.2202935163931598E-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xVal>
          <c:yVal>
            <c:numRef>
              <c:f>'PCA-plot'!$G$2:$G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8.8552142772192102E-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3.4585928376845302E-3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4.1230700093434602E-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5.1184288044688303E-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1.9125313604300701E-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0.18063274300459201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6.9612818101276494E-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0.16123420609435801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0.14341302291038399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0.13652547617979599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0.22067954305950799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9.9094424582778697E-3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.7577840243951501E-2</c:v>
                </c:pt>
                <c:pt idx="262">
                  <c:v>2</c:v>
                </c:pt>
                <c:pt idx="263">
                  <c:v>0.2212562554183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0.17659079130781799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1.7868687402447E-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0.13800644160197501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AB5-46AC-868F-852CA0568E51}"/>
            </c:ext>
          </c:extLst>
        </c:ser>
        <c:ser>
          <c:idx val="0"/>
          <c:order val="1"/>
          <c:tx>
            <c:v>grupa 2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rgbClr val="7030A0"/>
                </a:solidFill>
              </a:ln>
              <a:effectLst/>
            </c:spPr>
          </c:marker>
          <c:xVal>
            <c:numRef>
              <c:f>'PCA-plot'!$H$2:$H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0.2664429154392570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0.13987991226077301</c:v>
                </c:pt>
                <c:pt idx="232">
                  <c:v>0.16069915627463599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0.22689192351850099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0.24198882073985101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xVal>
          <c:yVal>
            <c:numRef>
              <c:f>'PCA-plot'!$I$2:$I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0.360713245106625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0.46720920795231802</c:v>
                </c:pt>
                <c:pt idx="232">
                  <c:v>0.479629007781401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0.4536574929680520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0.45902634884438498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AB5-46AC-868F-852CA0568E51}"/>
            </c:ext>
          </c:extLst>
        </c:ser>
        <c:ser>
          <c:idx val="1"/>
          <c:order val="2"/>
          <c:tx>
            <c:v>grupa 3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PCA-plot'!$J$2:$J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0.614349267057543</c:v>
                </c:pt>
                <c:pt idx="27">
                  <c:v>0.73814322777290797</c:v>
                </c:pt>
                <c:pt idx="28">
                  <c:v>0.64113807561631997</c:v>
                </c:pt>
                <c:pt idx="29">
                  <c:v>0.89635732582728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0.69104612085750206</c:v>
                </c:pt>
                <c:pt idx="50">
                  <c:v>0.77176997817480497</c:v>
                </c:pt>
                <c:pt idx="51">
                  <c:v>0.64534145215105398</c:v>
                </c:pt>
                <c:pt idx="52">
                  <c:v>0.60656288378106404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0.44071438550176101</c:v>
                </c:pt>
                <c:pt idx="75">
                  <c:v>0.68143244630669297</c:v>
                </c:pt>
                <c:pt idx="76">
                  <c:v>0.77190248020741004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0.68640610090839005</c:v>
                </c:pt>
                <c:pt idx="90">
                  <c:v>0.61022075545250298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0.78445485872960596</c:v>
                </c:pt>
                <c:pt idx="113">
                  <c:v>0.63610825673839</c:v>
                </c:pt>
                <c:pt idx="114">
                  <c:v>0.387689734981989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0.78395744659868605</c:v>
                </c:pt>
                <c:pt idx="135">
                  <c:v>0.60913632558991204</c:v>
                </c:pt>
                <c:pt idx="136">
                  <c:v>0.74994703808327501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0.62838036789973295</c:v>
                </c:pt>
                <c:pt idx="175">
                  <c:v>0.68631211911950896</c:v>
                </c:pt>
                <c:pt idx="176">
                  <c:v>0.68196608146371895</c:v>
                </c:pt>
                <c:pt idx="177">
                  <c:v>0.73102577468966501</c:v>
                </c:pt>
                <c:pt idx="178">
                  <c:v>0.67085767771151406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0.49070202611782598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0.77695294099091905</c:v>
                </c:pt>
                <c:pt idx="213">
                  <c:v>0.60024485711567199</c:v>
                </c:pt>
                <c:pt idx="214">
                  <c:v>0.695913554127362</c:v>
                </c:pt>
                <c:pt idx="215">
                  <c:v>0.63782626122887498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0.7637620165763380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0.79357397193799195</c:v>
                </c:pt>
                <c:pt idx="250">
                  <c:v>0.70326687997218396</c:v>
                </c:pt>
                <c:pt idx="251">
                  <c:v>0.70259065125579601</c:v>
                </c:pt>
                <c:pt idx="252">
                  <c:v>0.67416180648474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0.78207736139069695</c:v>
                </c:pt>
                <c:pt idx="271">
                  <c:v>0.90049035828105906</c:v>
                </c:pt>
                <c:pt idx="272">
                  <c:v>0.90020802912638098</c:v>
                </c:pt>
                <c:pt idx="273">
                  <c:v>0.54930631977878197</c:v>
                </c:pt>
                <c:pt idx="274">
                  <c:v>0.577900878492704</c:v>
                </c:pt>
                <c:pt idx="275">
                  <c:v>0.72258607399335095</c:v>
                </c:pt>
                <c:pt idx="276">
                  <c:v>0.62455987333590601</c:v>
                </c:pt>
                <c:pt idx="277">
                  <c:v>2</c:v>
                </c:pt>
                <c:pt idx="278">
                  <c:v>0.73500945708097598</c:v>
                </c:pt>
                <c:pt idx="279">
                  <c:v>0.58223968685191596</c:v>
                </c:pt>
                <c:pt idx="280">
                  <c:v>0.46545622487332999</c:v>
                </c:pt>
                <c:pt idx="281">
                  <c:v>0.59651101996367595</c:v>
                </c:pt>
                <c:pt idx="282">
                  <c:v>0.40153063753896501</c:v>
                </c:pt>
                <c:pt idx="283">
                  <c:v>0.80899833737514903</c:v>
                </c:pt>
                <c:pt idx="284">
                  <c:v>0.64877890902007296</c:v>
                </c:pt>
                <c:pt idx="285">
                  <c:v>0.56501705927366397</c:v>
                </c:pt>
                <c:pt idx="286">
                  <c:v>0.80731241168300005</c:v>
                </c:pt>
                <c:pt idx="287">
                  <c:v>0.82565530449351199</c:v>
                </c:pt>
                <c:pt idx="288">
                  <c:v>0.59008381147819799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0.61007020590167005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0.96011553393208104</c:v>
                </c:pt>
                <c:pt idx="323">
                  <c:v>0.67247139835579195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0.52076897090079899</c:v>
                </c:pt>
                <c:pt idx="356">
                  <c:v>2</c:v>
                </c:pt>
                <c:pt idx="357">
                  <c:v>0.68765014728820295</c:v>
                </c:pt>
                <c:pt idx="358">
                  <c:v>0.65241697930103804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0.67499617059908301</c:v>
                </c:pt>
                <c:pt idx="378">
                  <c:v>0.68867884438638505</c:v>
                </c:pt>
                <c:pt idx="379">
                  <c:v>0.45510836052199499</c:v>
                </c:pt>
              </c:numCache>
            </c:numRef>
          </c:xVal>
          <c:yVal>
            <c:numRef>
              <c:f>'PCA-plot'!$K$2:$K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0.18416875822443499</c:v>
                </c:pt>
                <c:pt idx="27">
                  <c:v>0.22782001190606799</c:v>
                </c:pt>
                <c:pt idx="28">
                  <c:v>0.34959193359845198</c:v>
                </c:pt>
                <c:pt idx="29">
                  <c:v>0.15392290511426501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0.30371524684004098</c:v>
                </c:pt>
                <c:pt idx="50">
                  <c:v>0.33350086199833201</c:v>
                </c:pt>
                <c:pt idx="51">
                  <c:v>0.271316066836436</c:v>
                </c:pt>
                <c:pt idx="52">
                  <c:v>0.257100196362819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0.32552552267504797</c:v>
                </c:pt>
                <c:pt idx="75">
                  <c:v>0.285131859784716</c:v>
                </c:pt>
                <c:pt idx="76">
                  <c:v>0.28787579807580099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0.32500034019843999</c:v>
                </c:pt>
                <c:pt idx="90">
                  <c:v>0.25521085707042801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0.40176077996302201</c:v>
                </c:pt>
                <c:pt idx="113">
                  <c:v>0.36748161044676603</c:v>
                </c:pt>
                <c:pt idx="114">
                  <c:v>0.30676459004672901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0.49748882216616702</c:v>
                </c:pt>
                <c:pt idx="135">
                  <c:v>0.21506587760047499</c:v>
                </c:pt>
                <c:pt idx="136">
                  <c:v>0.223553727094218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0.27698876964587898</c:v>
                </c:pt>
                <c:pt idx="175">
                  <c:v>0.48658180570051801</c:v>
                </c:pt>
                <c:pt idx="176">
                  <c:v>0.26137645578431101</c:v>
                </c:pt>
                <c:pt idx="177">
                  <c:v>0.224141135159306</c:v>
                </c:pt>
                <c:pt idx="178">
                  <c:v>0.402536089451066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0.2752505843027390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6.1007368930817998E-2</c:v>
                </c:pt>
                <c:pt idx="213">
                  <c:v>0.34420358329825801</c:v>
                </c:pt>
                <c:pt idx="214">
                  <c:v>0.21459443738748801</c:v>
                </c:pt>
                <c:pt idx="215">
                  <c:v>0.17363962738732699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0.28453545379620498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0.364970391933438</c:v>
                </c:pt>
                <c:pt idx="250">
                  <c:v>0.41285844168022101</c:v>
                </c:pt>
                <c:pt idx="251">
                  <c:v>0.29471000542540998</c:v>
                </c:pt>
                <c:pt idx="252">
                  <c:v>0.262488791612283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0.34418501610478203</c:v>
                </c:pt>
                <c:pt idx="271">
                  <c:v>0.38135826678465701</c:v>
                </c:pt>
                <c:pt idx="272">
                  <c:v>0.49479613549270401</c:v>
                </c:pt>
                <c:pt idx="273">
                  <c:v>0.33234239342414501</c:v>
                </c:pt>
                <c:pt idx="274">
                  <c:v>0.19202394838334799</c:v>
                </c:pt>
                <c:pt idx="275">
                  <c:v>0.25949605144957499</c:v>
                </c:pt>
                <c:pt idx="276">
                  <c:v>0.32338684569830001</c:v>
                </c:pt>
                <c:pt idx="277">
                  <c:v>2</c:v>
                </c:pt>
                <c:pt idx="278">
                  <c:v>0.43721705039320702</c:v>
                </c:pt>
                <c:pt idx="279">
                  <c:v>0.34253410961556702</c:v>
                </c:pt>
                <c:pt idx="280">
                  <c:v>0.39777356339804698</c:v>
                </c:pt>
                <c:pt idx="281">
                  <c:v>0.34827867749659802</c:v>
                </c:pt>
                <c:pt idx="282">
                  <c:v>0.33072388224065402</c:v>
                </c:pt>
                <c:pt idx="283">
                  <c:v>0.37100720306117702</c:v>
                </c:pt>
                <c:pt idx="284">
                  <c:v>0.38457485003743003</c:v>
                </c:pt>
                <c:pt idx="285">
                  <c:v>0.33705370455738698</c:v>
                </c:pt>
                <c:pt idx="286">
                  <c:v>0.35176048321513698</c:v>
                </c:pt>
                <c:pt idx="287">
                  <c:v>0.37913168945524001</c:v>
                </c:pt>
                <c:pt idx="288">
                  <c:v>0.209452030804616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0.27097682249891097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0.30761435491377498</c:v>
                </c:pt>
                <c:pt idx="323">
                  <c:v>0.30643237268467299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0.33064261162932701</c:v>
                </c:pt>
                <c:pt idx="356">
                  <c:v>2</c:v>
                </c:pt>
                <c:pt idx="357">
                  <c:v>0.15395547544315799</c:v>
                </c:pt>
                <c:pt idx="358">
                  <c:v>0.293798404778225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0.26095546380536699</c:v>
                </c:pt>
                <c:pt idx="378">
                  <c:v>0.32364341170494298</c:v>
                </c:pt>
                <c:pt idx="379">
                  <c:v>0.244887528337812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AB5-46AC-868F-852CA0568E51}"/>
            </c:ext>
          </c:extLst>
        </c:ser>
        <c:ser>
          <c:idx val="2"/>
          <c:order val="3"/>
          <c:tx>
            <c:v>grupa 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'PCA-plot'!$L$2:$L$381</c:f>
              <c:numCache>
                <c:formatCode>General</c:formatCode>
                <c:ptCount val="380"/>
                <c:pt idx="0">
                  <c:v>3.00228193078967E-2</c:v>
                </c:pt>
                <c:pt idx="1">
                  <c:v>2</c:v>
                </c:pt>
                <c:pt idx="2">
                  <c:v>0.15409166170364699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4.8663479316878699E-2</c:v>
                </c:pt>
                <c:pt idx="7">
                  <c:v>0.1023513507991480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3.0213493226930201E-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0.20237214908538301</c:v>
                </c:pt>
                <c:pt idx="19">
                  <c:v>2</c:v>
                </c:pt>
                <c:pt idx="20">
                  <c:v>0.19260624835931101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0.134612459156285</c:v>
                </c:pt>
                <c:pt idx="60">
                  <c:v>2</c:v>
                </c:pt>
                <c:pt idx="61">
                  <c:v>9.0701494318559204E-3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0.108273705805378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4.2995164665899401E-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9.7091653616246901E-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9.3987317922727603E-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9.6874689916329595E-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7.0647009387584406E-2</c:v>
                </c:pt>
                <c:pt idx="142">
                  <c:v>2.88536061306853E-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0.20279966127555299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1.07187280656187E-2</c:v>
                </c:pt>
                <c:pt idx="180">
                  <c:v>2</c:v>
                </c:pt>
                <c:pt idx="181">
                  <c:v>2</c:v>
                </c:pt>
                <c:pt idx="182">
                  <c:v>8.1577732918444792E-3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1.29548733149561E-2</c:v>
                </c:pt>
                <c:pt idx="241">
                  <c:v>0.18600017196827401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.67298513204609E-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9.7100231428350905E-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0.16854435260678699</c:v>
                </c:pt>
                <c:pt idx="296">
                  <c:v>2</c:v>
                </c:pt>
                <c:pt idx="297">
                  <c:v>0.13249810093970801</c:v>
                </c:pt>
                <c:pt idx="298">
                  <c:v>7.9208522325707603E-2</c:v>
                </c:pt>
                <c:pt idx="299">
                  <c:v>8.58449925207629E-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5.3535046597622801E-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3.7295047549687203E-2</c:v>
                </c:pt>
                <c:pt idx="339">
                  <c:v>2</c:v>
                </c:pt>
                <c:pt idx="340">
                  <c:v>4.3766500424405198E-2</c:v>
                </c:pt>
                <c:pt idx="341">
                  <c:v>2</c:v>
                </c:pt>
                <c:pt idx="342">
                  <c:v>5.2452433024775202E-2</c:v>
                </c:pt>
                <c:pt idx="343">
                  <c:v>2</c:v>
                </c:pt>
                <c:pt idx="344">
                  <c:v>2</c:v>
                </c:pt>
                <c:pt idx="345">
                  <c:v>1.08250533572642E-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6.24445111986607E-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6.51840269623334E-2</c:v>
                </c:pt>
                <c:pt idx="362">
                  <c:v>6.1418849816029103E-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8.9368653802435697E-3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0.148412856692273</c:v>
                </c:pt>
                <c:pt idx="373">
                  <c:v>2.3806660441149999E-2</c:v>
                </c:pt>
                <c:pt idx="374">
                  <c:v>2</c:v>
                </c:pt>
                <c:pt idx="375">
                  <c:v>4.1266102793263898E-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xVal>
          <c:yVal>
            <c:numRef>
              <c:f>'PCA-plot'!$M$2:$M$381</c:f>
              <c:numCache>
                <c:formatCode>General</c:formatCode>
                <c:ptCount val="380"/>
                <c:pt idx="0">
                  <c:v>-0.33707079565432302</c:v>
                </c:pt>
                <c:pt idx="1">
                  <c:v>2</c:v>
                </c:pt>
                <c:pt idx="2">
                  <c:v>-0.3092422275810650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-0.200074461936604</c:v>
                </c:pt>
                <c:pt idx="7">
                  <c:v>-1.9073181883086501E-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-0.128675150947658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-7.6725262384305298E-2</c:v>
                </c:pt>
                <c:pt idx="19">
                  <c:v>2</c:v>
                </c:pt>
                <c:pt idx="20">
                  <c:v>-0.155745434193576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-6.39737154024035E-2</c:v>
                </c:pt>
                <c:pt idx="60">
                  <c:v>2</c:v>
                </c:pt>
                <c:pt idx="61">
                  <c:v>-0.13453352001041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-0.25761554558032201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-4.54025501603302E-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-0.16617998368654499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-9.2733397274920595E-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-0.38053181548458398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-0.32282199061246197</c:v>
                </c:pt>
                <c:pt idx="142">
                  <c:v>-0.16683853497943699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-0.236916694804578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-0.24807151553867601</c:v>
                </c:pt>
                <c:pt idx="180">
                  <c:v>2</c:v>
                </c:pt>
                <c:pt idx="181">
                  <c:v>2</c:v>
                </c:pt>
                <c:pt idx="182">
                  <c:v>-9.4301993664751092E-3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-7.5868127304940094E-2</c:v>
                </c:pt>
                <c:pt idx="241">
                  <c:v>-0.14553639211421299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-0.31039546117301903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-0.28508419244049998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-8.9107597417225903E-2</c:v>
                </c:pt>
                <c:pt idx="296">
                  <c:v>2</c:v>
                </c:pt>
                <c:pt idx="297">
                  <c:v>-0.170964234705208</c:v>
                </c:pt>
                <c:pt idx="298">
                  <c:v>-0.22967325353422899</c:v>
                </c:pt>
                <c:pt idx="299">
                  <c:v>-0.3628689144349400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-0.16839254686189001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-0.250305209010383</c:v>
                </c:pt>
                <c:pt idx="339">
                  <c:v>2</c:v>
                </c:pt>
                <c:pt idx="340">
                  <c:v>-6.4531778851468199E-2</c:v>
                </c:pt>
                <c:pt idx="341">
                  <c:v>2</c:v>
                </c:pt>
                <c:pt idx="342">
                  <c:v>-0.23210882152732601</c:v>
                </c:pt>
                <c:pt idx="343">
                  <c:v>2</c:v>
                </c:pt>
                <c:pt idx="344">
                  <c:v>2</c:v>
                </c:pt>
                <c:pt idx="345">
                  <c:v>-0.20354913891658499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-0.23177773742045199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-6.8180791816658398E-2</c:v>
                </c:pt>
                <c:pt idx="362">
                  <c:v>-0.29789976086582298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-0.139790383927269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-0.30420643809841502</c:v>
                </c:pt>
                <c:pt idx="373">
                  <c:v>-0.167164426060187</c:v>
                </c:pt>
                <c:pt idx="374">
                  <c:v>2</c:v>
                </c:pt>
                <c:pt idx="375">
                  <c:v>-3.7087684920529197E-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5AB5-46AC-868F-852CA0568E51}"/>
            </c:ext>
          </c:extLst>
        </c:ser>
        <c:ser>
          <c:idx val="3"/>
          <c:order val="4"/>
          <c:tx>
            <c:v>grupa 5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'PCA-plot'!$N$2:$N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0.188800782592903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8.7098432749787194E-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0.16579449705957899</c:v>
                </c:pt>
                <c:pt idx="120">
                  <c:v>0.190568817967328</c:v>
                </c:pt>
                <c:pt idx="121">
                  <c:v>2</c:v>
                </c:pt>
                <c:pt idx="122">
                  <c:v>2</c:v>
                </c:pt>
                <c:pt idx="123">
                  <c:v>4.4980022291881701E-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0.138853992505238</c:v>
                </c:pt>
                <c:pt idx="131">
                  <c:v>2</c:v>
                </c:pt>
                <c:pt idx="132">
                  <c:v>0.17980288956572499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0.10588589288429499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3.04708309012988E-2</c:v>
                </c:pt>
                <c:pt idx="155">
                  <c:v>2</c:v>
                </c:pt>
                <c:pt idx="156">
                  <c:v>2</c:v>
                </c:pt>
                <c:pt idx="157">
                  <c:v>0.19080801047330501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0.11074493629453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0.15918041029855601</c:v>
                </c:pt>
                <c:pt idx="195">
                  <c:v>2</c:v>
                </c:pt>
                <c:pt idx="196">
                  <c:v>0.11969659115155</c:v>
                </c:pt>
                <c:pt idx="197">
                  <c:v>0.20294755975190801</c:v>
                </c:pt>
                <c:pt idx="198">
                  <c:v>6.6198326080529502E-2</c:v>
                </c:pt>
                <c:pt idx="199">
                  <c:v>2</c:v>
                </c:pt>
                <c:pt idx="200">
                  <c:v>8.2289612994224007E-2</c:v>
                </c:pt>
                <c:pt idx="201">
                  <c:v>2</c:v>
                </c:pt>
                <c:pt idx="202">
                  <c:v>6.04682316980849E-3</c:v>
                </c:pt>
                <c:pt idx="203">
                  <c:v>2</c:v>
                </c:pt>
                <c:pt idx="204">
                  <c:v>2.5560689588255699E-2</c:v>
                </c:pt>
                <c:pt idx="205">
                  <c:v>0.17931687901062399</c:v>
                </c:pt>
                <c:pt idx="206">
                  <c:v>6.2441615079751399E-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0.185423439029579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6.6790918191856202E-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9.6804799289498297E-2</c:v>
                </c:pt>
                <c:pt idx="328">
                  <c:v>7.0722053821205499E-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0.18282670308290599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0.11184953283396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xVal>
          <c:yVal>
            <c:numRef>
              <c:f>'PCA-plot'!$O$2:$O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-0.766389516033256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-0.5087471099114240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-0.63412006187292203</c:v>
                </c:pt>
                <c:pt idx="120">
                  <c:v>-0.67226213136264301</c:v>
                </c:pt>
                <c:pt idx="121">
                  <c:v>2</c:v>
                </c:pt>
                <c:pt idx="122">
                  <c:v>2</c:v>
                </c:pt>
                <c:pt idx="123">
                  <c:v>-0.51781469826769999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-0.71840614854677898</c:v>
                </c:pt>
                <c:pt idx="131">
                  <c:v>2</c:v>
                </c:pt>
                <c:pt idx="132">
                  <c:v>-0.46575859590904201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-0.594928741003108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-0.57861964613685302</c:v>
                </c:pt>
                <c:pt idx="155">
                  <c:v>2</c:v>
                </c:pt>
                <c:pt idx="156">
                  <c:v>2</c:v>
                </c:pt>
                <c:pt idx="157">
                  <c:v>-0.86653046151327096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-0.69464266064052305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-0.76759231858393395</c:v>
                </c:pt>
                <c:pt idx="195">
                  <c:v>2</c:v>
                </c:pt>
                <c:pt idx="196">
                  <c:v>-0.65335760048293601</c:v>
                </c:pt>
                <c:pt idx="197">
                  <c:v>-1.12376152373204</c:v>
                </c:pt>
                <c:pt idx="198">
                  <c:v>-0.56264032982538803</c:v>
                </c:pt>
                <c:pt idx="199">
                  <c:v>2</c:v>
                </c:pt>
                <c:pt idx="200">
                  <c:v>-0.93101051666338996</c:v>
                </c:pt>
                <c:pt idx="201">
                  <c:v>2</c:v>
                </c:pt>
                <c:pt idx="202">
                  <c:v>-0.47283398947385202</c:v>
                </c:pt>
                <c:pt idx="203">
                  <c:v>2</c:v>
                </c:pt>
                <c:pt idx="204">
                  <c:v>-0.764684555005819</c:v>
                </c:pt>
                <c:pt idx="205">
                  <c:v>-0.53222589004839205</c:v>
                </c:pt>
                <c:pt idx="206">
                  <c:v>-0.80524042099961901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-0.76058251621579598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-0.72469958464382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-0.42276783806739399</c:v>
                </c:pt>
                <c:pt idx="328">
                  <c:v>-0.4065241760878560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-0.79926606035513004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-0.85980342825976797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5AB5-46AC-868F-852CA0568E51}"/>
            </c:ext>
          </c:extLst>
        </c:ser>
        <c:ser>
          <c:idx val="4"/>
          <c:order val="5"/>
          <c:tx>
            <c:v>grupa 6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5"/>
                </a:solidFill>
              </a:ln>
              <a:effectLst/>
            </c:spPr>
          </c:marker>
          <c:xVal>
            <c:numRef>
              <c:f>'PCA-plot'!$P$2:$P$381</c:f>
              <c:numCache>
                <c:formatCode>General</c:formatCode>
                <c:ptCount val="380"/>
                <c:pt idx="0">
                  <c:v>2</c:v>
                </c:pt>
                <c:pt idx="1">
                  <c:v>0.4545421482909000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0.29683137591828301</c:v>
                </c:pt>
                <c:pt idx="116">
                  <c:v>0.238659503295828</c:v>
                </c:pt>
                <c:pt idx="117">
                  <c:v>0.34972089969972397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0.29535685195577599</c:v>
                </c:pt>
                <c:pt idx="127">
                  <c:v>0.3100954920603670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0.372410855760614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0.37855908004817301</c:v>
                </c:pt>
                <c:pt idx="193">
                  <c:v>0.30683466249206498</c:v>
                </c:pt>
                <c:pt idx="194">
                  <c:v>2</c:v>
                </c:pt>
                <c:pt idx="195">
                  <c:v>0.39870893048436801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0.29758684713829098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0.282255768942481</c:v>
                </c:pt>
                <c:pt idx="208">
                  <c:v>0.30578711892090099</c:v>
                </c:pt>
                <c:pt idx="209">
                  <c:v>0.23773187362555201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0.25131998909404302</c:v>
                </c:pt>
                <c:pt idx="254">
                  <c:v>0.24981339095819</c:v>
                </c:pt>
                <c:pt idx="255">
                  <c:v>0.24593934697884601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xVal>
          <c:yVal>
            <c:numRef>
              <c:f>'PCA-plot'!$Q$2:$Q$381</c:f>
              <c:numCache>
                <c:formatCode>General</c:formatCode>
                <c:ptCount val="380"/>
                <c:pt idx="0">
                  <c:v>2</c:v>
                </c:pt>
                <c:pt idx="1">
                  <c:v>-0.2725830173070690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-0.77832142194985898</c:v>
                </c:pt>
                <c:pt idx="116">
                  <c:v>-0.55827319803975906</c:v>
                </c:pt>
                <c:pt idx="117">
                  <c:v>-0.3571943967990430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-0.34324167171909298</c:v>
                </c:pt>
                <c:pt idx="127">
                  <c:v>-0.59423963304772398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-0.74153334347239797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-1.0579013859787501</c:v>
                </c:pt>
                <c:pt idx="193">
                  <c:v>-0.82715439718193895</c:v>
                </c:pt>
                <c:pt idx="194">
                  <c:v>2</c:v>
                </c:pt>
                <c:pt idx="195">
                  <c:v>-0.86775674788055701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-0.42634911536575798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-0.81924867409024205</c:v>
                </c:pt>
                <c:pt idx="208">
                  <c:v>-0.43184125068719098</c:v>
                </c:pt>
                <c:pt idx="209">
                  <c:v>-0.58860540207540601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-0.373716551989284</c:v>
                </c:pt>
                <c:pt idx="254">
                  <c:v>-0.67358510183378595</c:v>
                </c:pt>
                <c:pt idx="255">
                  <c:v>-0.54871160933834395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5AB5-46AC-868F-852CA0568E51}"/>
            </c:ext>
          </c:extLst>
        </c:ser>
        <c:ser>
          <c:idx val="5"/>
          <c:order val="6"/>
          <c:tx>
            <c:v>grupa 7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6"/>
                </a:solidFill>
              </a:ln>
              <a:effectLst/>
            </c:spPr>
          </c:marker>
          <c:xVal>
            <c:numRef>
              <c:f>'PCA-plot'!$R$2:$R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-6.6329058745735997E-2</c:v>
                </c:pt>
                <c:pt idx="5">
                  <c:v>-4.9887758793598899E-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-0.170390753003277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-0.105082668035219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-7.2983421150975697E-2</c:v>
                </c:pt>
                <c:pt idx="82">
                  <c:v>2</c:v>
                </c:pt>
                <c:pt idx="83">
                  <c:v>2</c:v>
                </c:pt>
                <c:pt idx="84">
                  <c:v>-8.1285146871907799E-2</c:v>
                </c:pt>
                <c:pt idx="85">
                  <c:v>-4.49539879114908E-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-6.9093762649582793E-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-4.6455809308376103E-2</c:v>
                </c:pt>
                <c:pt idx="122">
                  <c:v>2</c:v>
                </c:pt>
                <c:pt idx="123">
                  <c:v>2</c:v>
                </c:pt>
                <c:pt idx="124">
                  <c:v>-9.8561908689381895E-3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-8.6779804432028408E-3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-2.06164278342027E-2</c:v>
                </c:pt>
                <c:pt idx="181">
                  <c:v>-2.6109669157550401E-3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-1.12592228033644E-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-0.14994383689649901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-0.13970302140611501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-0.112114503751876</c:v>
                </c:pt>
                <c:pt idx="237">
                  <c:v>2</c:v>
                </c:pt>
                <c:pt idx="238">
                  <c:v>2</c:v>
                </c:pt>
                <c:pt idx="239">
                  <c:v>-6.0504695417736704E-3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-1.3992885293403499E-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-7.8856550384766202E-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-0.21403112795457499</c:v>
                </c:pt>
                <c:pt idx="267">
                  <c:v>-5.6803448031985303E-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-0.119826329677796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-4.8630269362869599E-2</c:v>
                </c:pt>
                <c:pt idx="306">
                  <c:v>2</c:v>
                </c:pt>
                <c:pt idx="307">
                  <c:v>2</c:v>
                </c:pt>
                <c:pt idx="308">
                  <c:v>-4.94236608002162E-2</c:v>
                </c:pt>
                <c:pt idx="309">
                  <c:v>2</c:v>
                </c:pt>
                <c:pt idx="310">
                  <c:v>-3.2855605016512399E-2</c:v>
                </c:pt>
                <c:pt idx="311">
                  <c:v>2</c:v>
                </c:pt>
                <c:pt idx="312">
                  <c:v>-3.9470620268075601E-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-6.6711740619446597E-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-0.145586063700368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-1.2537945648013599E-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-3.2018390147399003E-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-0.13017513322510699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-2.78267390216872E-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-0.13072489070903701</c:v>
                </c:pt>
                <c:pt idx="361">
                  <c:v>2</c:v>
                </c:pt>
                <c:pt idx="362">
                  <c:v>2</c:v>
                </c:pt>
                <c:pt idx="363">
                  <c:v>-2.4498033760212401E-3</c:v>
                </c:pt>
                <c:pt idx="364">
                  <c:v>2</c:v>
                </c:pt>
                <c:pt idx="365">
                  <c:v>2</c:v>
                </c:pt>
                <c:pt idx="366">
                  <c:v>-5.2383612718879702E-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-0.13617186527349401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xVal>
          <c:yVal>
            <c:numRef>
              <c:f>'PCA-plot'!$S$2:$S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-0.274226382508299</c:v>
                </c:pt>
                <c:pt idx="5">
                  <c:v>-0.280855959225284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-0.35347062975411903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-0.35889509459493701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-0.13007705228619901</c:v>
                </c:pt>
                <c:pt idx="82">
                  <c:v>2</c:v>
                </c:pt>
                <c:pt idx="83">
                  <c:v>2</c:v>
                </c:pt>
                <c:pt idx="84">
                  <c:v>-0.374972742960551</c:v>
                </c:pt>
                <c:pt idx="85">
                  <c:v>-0.21446907401603599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-9.0943543178514899E-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-0.35588661583340098</c:v>
                </c:pt>
                <c:pt idx="122">
                  <c:v>2</c:v>
                </c:pt>
                <c:pt idx="123">
                  <c:v>2</c:v>
                </c:pt>
                <c:pt idx="124">
                  <c:v>-0.40302162869274299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-0.13406865409333801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-2.1720931258787199E-2</c:v>
                </c:pt>
                <c:pt idx="181">
                  <c:v>-9.8613850235390196E-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-9.4296527646973397E-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-0.39668045041424899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-0.64648120084847904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-0.42115871007488898</c:v>
                </c:pt>
                <c:pt idx="237">
                  <c:v>2</c:v>
                </c:pt>
                <c:pt idx="238">
                  <c:v>2</c:v>
                </c:pt>
                <c:pt idx="239">
                  <c:v>-0.14787081035239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-0.209012554200181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-0.43338311394740398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-0.51449338998537497</c:v>
                </c:pt>
                <c:pt idx="267">
                  <c:v>-9.0548890073077107E-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-0.16911179122832601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-0.10133344005782501</c:v>
                </c:pt>
                <c:pt idx="306">
                  <c:v>2</c:v>
                </c:pt>
                <c:pt idx="307">
                  <c:v>2</c:v>
                </c:pt>
                <c:pt idx="308">
                  <c:v>-0.218929432531066</c:v>
                </c:pt>
                <c:pt idx="309">
                  <c:v>2</c:v>
                </c:pt>
                <c:pt idx="310">
                  <c:v>-4.8191844955237401E-2</c:v>
                </c:pt>
                <c:pt idx="311">
                  <c:v>2</c:v>
                </c:pt>
                <c:pt idx="312">
                  <c:v>-4.0880463733216001E-2</c:v>
                </c:pt>
                <c:pt idx="313">
                  <c:v>2</c:v>
                </c:pt>
                <c:pt idx="314">
                  <c:v>2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-0.40749930269930101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-0.28858238580676498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-0.353734912034815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-0.20813990557511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-0.3311905503582390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-0.56823867732187106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-0.28638239797489501</c:v>
                </c:pt>
                <c:pt idx="361">
                  <c:v>2</c:v>
                </c:pt>
                <c:pt idx="362">
                  <c:v>2</c:v>
                </c:pt>
                <c:pt idx="363">
                  <c:v>-0.244890326364989</c:v>
                </c:pt>
                <c:pt idx="364">
                  <c:v>2</c:v>
                </c:pt>
                <c:pt idx="365">
                  <c:v>2</c:v>
                </c:pt>
                <c:pt idx="366">
                  <c:v>-0.67378191188993197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-0.268048182632035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5AB5-46AC-868F-852CA0568E51}"/>
            </c:ext>
          </c:extLst>
        </c:ser>
        <c:ser>
          <c:idx val="7"/>
          <c:order val="7"/>
          <c:tx>
            <c:v>grupa 8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rgbClr val="9E480E"/>
                </a:solidFill>
              </a:ln>
              <a:effectLst/>
            </c:spPr>
          </c:marker>
          <c:xVal>
            <c:numRef>
              <c:f>'PCA-plot'!$T$2:$T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-0.2537158555610680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-0.187373675474447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-0.3124192779446490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-0.14820940660217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-0.30008205074619898</c:v>
                </c:pt>
                <c:pt idx="45">
                  <c:v>-0.27560928128915602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-8.8034078051149198E-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-0.31319513839445201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-0.16340927146966699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-0.31388764914239897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-0.38036101298121699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-0.112627342938038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-0.18478796314160301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-0.12492163409885799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-0.40347033229246398</c:v>
                </c:pt>
                <c:pt idx="188">
                  <c:v>2</c:v>
                </c:pt>
                <c:pt idx="189">
                  <c:v>-0.2881739895771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-0.3416039815985790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-0.27152697049835101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-0.354966626744601</c:v>
                </c:pt>
                <c:pt idx="234">
                  <c:v>-0.14516513081688801</c:v>
                </c:pt>
                <c:pt idx="235">
                  <c:v>2</c:v>
                </c:pt>
                <c:pt idx="236">
                  <c:v>2</c:v>
                </c:pt>
                <c:pt idx="237">
                  <c:v>-0.22990765329617499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-0.37105187292789599</c:v>
                </c:pt>
                <c:pt idx="244">
                  <c:v>-0.336351851857005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-0.228883845027681</c:v>
                </c:pt>
                <c:pt idx="257">
                  <c:v>2</c:v>
                </c:pt>
                <c:pt idx="258">
                  <c:v>2</c:v>
                </c:pt>
                <c:pt idx="259">
                  <c:v>-0.39856502465018301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-0.421252709491171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-0.15988546948145199</c:v>
                </c:pt>
                <c:pt idx="314">
                  <c:v>2</c:v>
                </c:pt>
                <c:pt idx="315">
                  <c:v>2</c:v>
                </c:pt>
                <c:pt idx="316">
                  <c:v>-0.22451352575476699</c:v>
                </c:pt>
                <c:pt idx="317">
                  <c:v>-9.8053362987501294E-2</c:v>
                </c:pt>
                <c:pt idx="318">
                  <c:v>2</c:v>
                </c:pt>
                <c:pt idx="319">
                  <c:v>-0.118088094820894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-0.298832463520604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-0.33540656662045598</c:v>
                </c:pt>
                <c:pt idx="337">
                  <c:v>-0.19641740864013599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-0.210583781021634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-0.237526432718666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-0.17384918042997699</c:v>
                </c:pt>
                <c:pt idx="365">
                  <c:v>-0.29502854062156703</c:v>
                </c:pt>
                <c:pt idx="366">
                  <c:v>2</c:v>
                </c:pt>
                <c:pt idx="367">
                  <c:v>-0.30354719194010898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-0.32508650318536503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xVal>
          <c:yVal>
            <c:numRef>
              <c:f>'PCA-plot'!$U$2:$U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-0.34492932160541401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-0.219727053111934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-9.6163842810030598E-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-7.4174039146175402E-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2</c:v>
                </c:pt>
                <c:pt idx="33">
                  <c:v>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  <c:pt idx="44">
                  <c:v>-2.15736631178336E-2</c:v>
                </c:pt>
                <c:pt idx="45">
                  <c:v>-0.1485438095528</c:v>
                </c:pt>
                <c:pt idx="46">
                  <c:v>2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2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-1.01609576016564E-2</c:v>
                </c:pt>
                <c:pt idx="63">
                  <c:v>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-8.4058389437199801E-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-4.5841332503130702E-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-4.8644915914152403E-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2</c:v>
                </c:pt>
                <c:pt idx="103">
                  <c:v>2</c:v>
                </c:pt>
                <c:pt idx="104">
                  <c:v>2</c:v>
                </c:pt>
                <c:pt idx="105">
                  <c:v>2</c:v>
                </c:pt>
                <c:pt idx="106">
                  <c:v>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-0.12189237963024201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-5.0331882678359301E-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-8.5186427124801206E-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-7.10493221127559E-2</c:v>
                </c:pt>
                <c:pt idx="184">
                  <c:v>2</c:v>
                </c:pt>
                <c:pt idx="185">
                  <c:v>2</c:v>
                </c:pt>
                <c:pt idx="186">
                  <c:v>2</c:v>
                </c:pt>
                <c:pt idx="187">
                  <c:v>-0.17665549577959899</c:v>
                </c:pt>
                <c:pt idx="188">
                  <c:v>2</c:v>
                </c:pt>
                <c:pt idx="189">
                  <c:v>-8.5147762944943001E-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-0.109748474132776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-5.2422758709075597E-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-0.151562722035988</c:v>
                </c:pt>
                <c:pt idx="234">
                  <c:v>-0.104640182736746</c:v>
                </c:pt>
                <c:pt idx="235">
                  <c:v>2</c:v>
                </c:pt>
                <c:pt idx="236">
                  <c:v>2</c:v>
                </c:pt>
                <c:pt idx="237">
                  <c:v>-3.09266808621983E-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-0.353907291275316</c:v>
                </c:pt>
                <c:pt idx="244">
                  <c:v>-0.21604435986903001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-7.6621243639130004E-2</c:v>
                </c:pt>
                <c:pt idx="257">
                  <c:v>2</c:v>
                </c:pt>
                <c:pt idx="258">
                  <c:v>2</c:v>
                </c:pt>
                <c:pt idx="259">
                  <c:v>-0.119693899884565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-0.27283672489904398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-7.9678695027364202E-2</c:v>
                </c:pt>
                <c:pt idx="314">
                  <c:v>2</c:v>
                </c:pt>
                <c:pt idx="315">
                  <c:v>2</c:v>
                </c:pt>
                <c:pt idx="316">
                  <c:v>-0.114746224001411</c:v>
                </c:pt>
                <c:pt idx="317">
                  <c:v>-6.84314948607503E-2</c:v>
                </c:pt>
                <c:pt idx="318">
                  <c:v>2</c:v>
                </c:pt>
                <c:pt idx="319">
                  <c:v>-8.8770400390695593E-3</c:v>
                </c:pt>
                <c:pt idx="320">
                  <c:v>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-0.14288863760365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-0.18056554774731201</c:v>
                </c:pt>
                <c:pt idx="337">
                  <c:v>-0.106680164705035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-8.6697321990459902E-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-0.20697570008468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-2.05180157292961E-2</c:v>
                </c:pt>
                <c:pt idx="365">
                  <c:v>-5.02018250342001E-2</c:v>
                </c:pt>
                <c:pt idx="366">
                  <c:v>2</c:v>
                </c:pt>
                <c:pt idx="367">
                  <c:v>-0.29895689738541298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-0.33128748359934301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5AB5-46AC-868F-852CA0568E51}"/>
            </c:ext>
          </c:extLst>
        </c:ser>
        <c:ser>
          <c:idx val="8"/>
          <c:order val="8"/>
          <c:tx>
            <c:v>grupa 9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rgbClr val="636363"/>
                </a:solidFill>
              </a:ln>
              <a:effectLst/>
            </c:spPr>
          </c:marker>
          <c:xVal>
            <c:numRef>
              <c:f>'PCA-plot'!$V$2:$V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-3.9689910955302603E-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-9.1489798860975892E-3</c:v>
                </c:pt>
                <c:pt idx="10">
                  <c:v>2</c:v>
                </c:pt>
                <c:pt idx="11">
                  <c:v>-0.13936028034328901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-0.125732020243947</c:v>
                </c:pt>
                <c:pt idx="17">
                  <c:v>2</c:v>
                </c:pt>
                <c:pt idx="18">
                  <c:v>2</c:v>
                </c:pt>
                <c:pt idx="19">
                  <c:v>-2.0256796285420299E-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-3.67789413520462E-2</c:v>
                </c:pt>
                <c:pt idx="24">
                  <c:v>-3.5084020256273503E-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-0.20888479995112899</c:v>
                </c:pt>
                <c:pt idx="33">
                  <c:v>-0.29670720395592998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-0.17715943743729901</c:v>
                </c:pt>
                <c:pt idx="39">
                  <c:v>-8.5408777359177193E-2</c:v>
                </c:pt>
                <c:pt idx="40">
                  <c:v>2</c:v>
                </c:pt>
                <c:pt idx="41">
                  <c:v>2</c:v>
                </c:pt>
                <c:pt idx="42">
                  <c:v>-0.244730304427559</c:v>
                </c:pt>
                <c:pt idx="43">
                  <c:v>-0.25762492984370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-0.13028879756411299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-0.25960847524039099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-0.10873586453171501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-9.8236473266574295E-2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-2.6531659364523601E-2</c:v>
                </c:pt>
                <c:pt idx="69">
                  <c:v>2</c:v>
                </c:pt>
                <c:pt idx="70">
                  <c:v>-0.107408530002641</c:v>
                </c:pt>
                <c:pt idx="71">
                  <c:v>2</c:v>
                </c:pt>
                <c:pt idx="72">
                  <c:v>-0.14502177420425599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-0.118440945895726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-0.113124630448024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-0.15513106635195001</c:v>
                </c:pt>
                <c:pt idx="103">
                  <c:v>-0.114922690842846</c:v>
                </c:pt>
                <c:pt idx="104">
                  <c:v>2</c:v>
                </c:pt>
                <c:pt idx="105">
                  <c:v>2</c:v>
                </c:pt>
                <c:pt idx="106">
                  <c:v>-6.5324156852949095E-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-5.6974625267284799E-2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-0.21417141007756399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-0.14845014518990399</c:v>
                </c:pt>
                <c:pt idx="149">
                  <c:v>2</c:v>
                </c:pt>
                <c:pt idx="150">
                  <c:v>-0.19881775964030499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-0.122566746095329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-0.13947736452289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-9.7811101155770894E-2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-7.7462681481655707E-2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-6.1418290409980897E-2</c:v>
                </c:pt>
                <c:pt idx="246">
                  <c:v>2</c:v>
                </c:pt>
                <c:pt idx="247">
                  <c:v>2</c:v>
                </c:pt>
                <c:pt idx="248">
                  <c:v>-0.14706839165013599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-0.25001074399975198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-0.20900375053489201</c:v>
                </c:pt>
                <c:pt idx="294">
                  <c:v>-0.22247938642589901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-0.20222137633503601</c:v>
                </c:pt>
                <c:pt idx="301">
                  <c:v>2</c:v>
                </c:pt>
                <c:pt idx="302">
                  <c:v>2</c:v>
                </c:pt>
                <c:pt idx="303">
                  <c:v>-2.5773330205717E-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-0.12574982697919501</c:v>
                </c:pt>
                <c:pt idx="310">
                  <c:v>2</c:v>
                </c:pt>
                <c:pt idx="311">
                  <c:v>-0.189466723465925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-0.24051723570119801</c:v>
                </c:pt>
                <c:pt idx="316">
                  <c:v>2</c:v>
                </c:pt>
                <c:pt idx="317">
                  <c:v>2</c:v>
                </c:pt>
                <c:pt idx="318">
                  <c:v>-9.7283741538432306E-2</c:v>
                </c:pt>
                <c:pt idx="319">
                  <c:v>2</c:v>
                </c:pt>
                <c:pt idx="320">
                  <c:v>2</c:v>
                </c:pt>
                <c:pt idx="321">
                  <c:v>-4.4372841473754102E-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-0.21937447786938899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-0.23682305509367499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-0.17676746035309701</c:v>
                </c:pt>
                <c:pt idx="352">
                  <c:v>2</c:v>
                </c:pt>
                <c:pt idx="353">
                  <c:v>-0.149296001995919</c:v>
                </c:pt>
                <c:pt idx="354">
                  <c:v>-0.31313337415961101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-9.9914854104629802E-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-0.20562950914976699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xVal>
          <c:yVal>
            <c:numRef>
              <c:f>'PCA-plot'!$W$2:$W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0.12875938846147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7.9947097981305004E-2</c:v>
                </c:pt>
                <c:pt idx="10">
                  <c:v>2</c:v>
                </c:pt>
                <c:pt idx="11">
                  <c:v>6.4762168312356594E-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0.18358196103139199</c:v>
                </c:pt>
                <c:pt idx="17">
                  <c:v>2</c:v>
                </c:pt>
                <c:pt idx="18">
                  <c:v>2</c:v>
                </c:pt>
                <c:pt idx="19">
                  <c:v>4.8020435390495102E-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9.4427688030165893E-2</c:v>
                </c:pt>
                <c:pt idx="24">
                  <c:v>5.6892552871513798E-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2</c:v>
                </c:pt>
                <c:pt idx="31">
                  <c:v>2</c:v>
                </c:pt>
                <c:pt idx="32">
                  <c:v>9.3403743719456308E-3</c:v>
                </c:pt>
                <c:pt idx="33">
                  <c:v>3.9570682517853499E-2</c:v>
                </c:pt>
                <c:pt idx="34">
                  <c:v>2</c:v>
                </c:pt>
                <c:pt idx="35">
                  <c:v>2</c:v>
                </c:pt>
                <c:pt idx="36">
                  <c:v>2</c:v>
                </c:pt>
                <c:pt idx="37">
                  <c:v>2</c:v>
                </c:pt>
                <c:pt idx="38">
                  <c:v>9.3518133173009999E-2</c:v>
                </c:pt>
                <c:pt idx="39">
                  <c:v>0.19330763036859999</c:v>
                </c:pt>
                <c:pt idx="40">
                  <c:v>2</c:v>
                </c:pt>
                <c:pt idx="41">
                  <c:v>2</c:v>
                </c:pt>
                <c:pt idx="42">
                  <c:v>0.104104822064568</c:v>
                </c:pt>
                <c:pt idx="43">
                  <c:v>2.7926035969568299E-2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5.4963321574590399E-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2</c:v>
                </c:pt>
                <c:pt idx="54">
                  <c:v>7.7687903401312602E-3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0.105717829399297</c:v>
                </c:pt>
                <c:pt idx="59">
                  <c:v>2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0.125925812445217</c:v>
                </c:pt>
                <c:pt idx="64">
                  <c:v>2</c:v>
                </c:pt>
                <c:pt idx="65">
                  <c:v>2</c:v>
                </c:pt>
                <c:pt idx="66">
                  <c:v>2</c:v>
                </c:pt>
                <c:pt idx="67">
                  <c:v>2</c:v>
                </c:pt>
                <c:pt idx="68">
                  <c:v>0.203715473668279</c:v>
                </c:pt>
                <c:pt idx="69">
                  <c:v>2</c:v>
                </c:pt>
                <c:pt idx="70">
                  <c:v>0.120892010449987</c:v>
                </c:pt>
                <c:pt idx="71">
                  <c:v>2</c:v>
                </c:pt>
                <c:pt idx="72">
                  <c:v>7.2772981445750104E-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8.4358920394366793E-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0.15977190833534399</c:v>
                </c:pt>
                <c:pt idx="83">
                  <c:v>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2</c:v>
                </c:pt>
                <c:pt idx="94">
                  <c:v>2</c:v>
                </c:pt>
                <c:pt idx="95">
                  <c:v>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2">
                  <c:v>0.17718869520942701</c:v>
                </c:pt>
                <c:pt idx="103">
                  <c:v>0.345950746516623</c:v>
                </c:pt>
                <c:pt idx="104">
                  <c:v>2</c:v>
                </c:pt>
                <c:pt idx="105">
                  <c:v>2</c:v>
                </c:pt>
                <c:pt idx="106">
                  <c:v>6.7287493130916101E-2</c:v>
                </c:pt>
                <c:pt idx="107">
                  <c:v>2</c:v>
                </c:pt>
                <c:pt idx="108">
                  <c:v>2</c:v>
                </c:pt>
                <c:pt idx="109">
                  <c:v>2</c:v>
                </c:pt>
                <c:pt idx="110">
                  <c:v>0.14923606379926399</c:v>
                </c:pt>
                <c:pt idx="111">
                  <c:v>2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0.144952509915759</c:v>
                </c:pt>
                <c:pt idx="138">
                  <c:v>2</c:v>
                </c:pt>
                <c:pt idx="139">
                  <c:v>2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2</c:v>
                </c:pt>
                <c:pt idx="146">
                  <c:v>2</c:v>
                </c:pt>
                <c:pt idx="147">
                  <c:v>2</c:v>
                </c:pt>
                <c:pt idx="148">
                  <c:v>8.4683113941472099E-2</c:v>
                </c:pt>
                <c:pt idx="149">
                  <c:v>2</c:v>
                </c:pt>
                <c:pt idx="150">
                  <c:v>2.5261633621368899E-2</c:v>
                </c:pt>
                <c:pt idx="151">
                  <c:v>2</c:v>
                </c:pt>
                <c:pt idx="152">
                  <c:v>2</c:v>
                </c:pt>
                <c:pt idx="153">
                  <c:v>2</c:v>
                </c:pt>
                <c:pt idx="154">
                  <c:v>2</c:v>
                </c:pt>
                <c:pt idx="155">
                  <c:v>2</c:v>
                </c:pt>
                <c:pt idx="156">
                  <c:v>0.19818248179377701</c:v>
                </c:pt>
                <c:pt idx="157">
                  <c:v>2</c:v>
                </c:pt>
                <c:pt idx="158">
                  <c:v>2</c:v>
                </c:pt>
                <c:pt idx="159">
                  <c:v>2</c:v>
                </c:pt>
                <c:pt idx="160">
                  <c:v>2</c:v>
                </c:pt>
                <c:pt idx="161">
                  <c:v>2.3779763397409202E-2</c:v>
                </c:pt>
                <c:pt idx="162">
                  <c:v>2</c:v>
                </c:pt>
                <c:pt idx="163">
                  <c:v>2</c:v>
                </c:pt>
                <c:pt idx="164">
                  <c:v>2</c:v>
                </c:pt>
                <c:pt idx="165">
                  <c:v>2</c:v>
                </c:pt>
                <c:pt idx="166">
                  <c:v>2</c:v>
                </c:pt>
                <c:pt idx="167">
                  <c:v>2</c:v>
                </c:pt>
                <c:pt idx="168">
                  <c:v>2</c:v>
                </c:pt>
                <c:pt idx="169">
                  <c:v>2</c:v>
                </c:pt>
                <c:pt idx="170">
                  <c:v>4.9128748741968696E-3</c:v>
                </c:pt>
                <c:pt idx="171">
                  <c:v>2</c:v>
                </c:pt>
                <c:pt idx="172">
                  <c:v>2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0.114888291232107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2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2</c:v>
                </c:pt>
                <c:pt idx="217">
                  <c:v>2</c:v>
                </c:pt>
                <c:pt idx="218">
                  <c:v>2</c:v>
                </c:pt>
                <c:pt idx="219">
                  <c:v>2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3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2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7">
                  <c:v>2</c:v>
                </c:pt>
                <c:pt idx="238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</c:v>
                </c:pt>
                <c:pt idx="243">
                  <c:v>2</c:v>
                </c:pt>
                <c:pt idx="244">
                  <c:v>2</c:v>
                </c:pt>
                <c:pt idx="245">
                  <c:v>0.10221958134588401</c:v>
                </c:pt>
                <c:pt idx="246">
                  <c:v>2</c:v>
                </c:pt>
                <c:pt idx="247">
                  <c:v>2</c:v>
                </c:pt>
                <c:pt idx="248">
                  <c:v>3.9355060356684499E-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2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3.2574988614732701E-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2</c:v>
                </c:pt>
                <c:pt idx="291">
                  <c:v>2</c:v>
                </c:pt>
                <c:pt idx="292">
                  <c:v>2</c:v>
                </c:pt>
                <c:pt idx="293">
                  <c:v>6.7241651277475695E-2</c:v>
                </c:pt>
                <c:pt idx="294">
                  <c:v>9.3990100683505398E-2</c:v>
                </c:pt>
                <c:pt idx="295">
                  <c:v>2</c:v>
                </c:pt>
                <c:pt idx="296">
                  <c:v>2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1.55157190709401E-2</c:v>
                </c:pt>
                <c:pt idx="301">
                  <c:v>2</c:v>
                </c:pt>
                <c:pt idx="302">
                  <c:v>2</c:v>
                </c:pt>
                <c:pt idx="303">
                  <c:v>9.9832693854300894E-2</c:v>
                </c:pt>
                <c:pt idx="304">
                  <c:v>2</c:v>
                </c:pt>
                <c:pt idx="305">
                  <c:v>2</c:v>
                </c:pt>
                <c:pt idx="306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4.9218824859660103E-3</c:v>
                </c:pt>
                <c:pt idx="310">
                  <c:v>2</c:v>
                </c:pt>
                <c:pt idx="311">
                  <c:v>0.24343756510188</c:v>
                </c:pt>
                <c:pt idx="312">
                  <c:v>2</c:v>
                </c:pt>
                <c:pt idx="313">
                  <c:v>2</c:v>
                </c:pt>
                <c:pt idx="314">
                  <c:v>2</c:v>
                </c:pt>
                <c:pt idx="315">
                  <c:v>0.11007029754016</c:v>
                </c:pt>
                <c:pt idx="316">
                  <c:v>2</c:v>
                </c:pt>
                <c:pt idx="317">
                  <c:v>2</c:v>
                </c:pt>
                <c:pt idx="318">
                  <c:v>0.16018910486770399</c:v>
                </c:pt>
                <c:pt idx="319">
                  <c:v>2</c:v>
                </c:pt>
                <c:pt idx="320">
                  <c:v>2</c:v>
                </c:pt>
                <c:pt idx="321">
                  <c:v>0.169062871885928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0.16391092121124701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2</c:v>
                </c:pt>
                <c:pt idx="332">
                  <c:v>2</c:v>
                </c:pt>
                <c:pt idx="333">
                  <c:v>2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4.3120796094286797E-2</c:v>
                </c:pt>
                <c:pt idx="342">
                  <c:v>2</c:v>
                </c:pt>
                <c:pt idx="343">
                  <c:v>2</c:v>
                </c:pt>
                <c:pt idx="344">
                  <c:v>2</c:v>
                </c:pt>
                <c:pt idx="345">
                  <c:v>2</c:v>
                </c:pt>
                <c:pt idx="346">
                  <c:v>2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2</c:v>
                </c:pt>
                <c:pt idx="351">
                  <c:v>9.6846998163000603E-2</c:v>
                </c:pt>
                <c:pt idx="352">
                  <c:v>2</c:v>
                </c:pt>
                <c:pt idx="353">
                  <c:v>0.25741131005086798</c:v>
                </c:pt>
                <c:pt idx="354">
                  <c:v>2.6389483798982E-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.6737183931075902E-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7.4837495093951503E-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5AB5-46AC-868F-852CA0568E51}"/>
            </c:ext>
          </c:extLst>
        </c:ser>
        <c:ser>
          <c:idx val="9"/>
          <c:order val="9"/>
          <c:tx>
            <c:v>grupa 10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rgbClr val="997300"/>
                </a:solidFill>
              </a:ln>
              <a:effectLst/>
            </c:spPr>
          </c:marker>
          <c:xVal>
            <c:numRef>
              <c:f>'PCA-plot'!$X$2:$X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-0.419342466364099</c:v>
                </c:pt>
                <c:pt idx="31">
                  <c:v>-0.38618002914736599</c:v>
                </c:pt>
                <c:pt idx="32">
                  <c:v>2</c:v>
                </c:pt>
                <c:pt idx="33">
                  <c:v>2</c:v>
                </c:pt>
                <c:pt idx="34">
                  <c:v>-0.43174855932481898</c:v>
                </c:pt>
                <c:pt idx="35">
                  <c:v>-0.46738359741017799</c:v>
                </c:pt>
                <c:pt idx="36">
                  <c:v>2</c:v>
                </c:pt>
                <c:pt idx="37">
                  <c:v>-0.40513459446693301</c:v>
                </c:pt>
                <c:pt idx="38">
                  <c:v>2</c:v>
                </c:pt>
                <c:pt idx="39">
                  <c:v>2</c:v>
                </c:pt>
                <c:pt idx="40">
                  <c:v>-0.55295672737635204</c:v>
                </c:pt>
                <c:pt idx="41">
                  <c:v>-0.42619663703053601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-0.42523714367616</c:v>
                </c:pt>
                <c:pt idx="47">
                  <c:v>-0.4144982309958660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-0.37175877776349298</c:v>
                </c:pt>
                <c:pt idx="54">
                  <c:v>2</c:v>
                </c:pt>
                <c:pt idx="55">
                  <c:v>-0.30605802789448999</c:v>
                </c:pt>
                <c:pt idx="56">
                  <c:v>-0.41272983930705698</c:v>
                </c:pt>
                <c:pt idx="57">
                  <c:v>-0.227321791466434</c:v>
                </c:pt>
                <c:pt idx="58">
                  <c:v>2</c:v>
                </c:pt>
                <c:pt idx="59">
                  <c:v>2</c:v>
                </c:pt>
                <c:pt idx="60">
                  <c:v>-0.37412182301944003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-0.42961172381519103</c:v>
                </c:pt>
                <c:pt idx="66">
                  <c:v>2</c:v>
                </c:pt>
                <c:pt idx="67">
                  <c:v>-0.32639021779882199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-0.5096085684090210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-0.3671829910599960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-0.309758323594792</c:v>
                </c:pt>
                <c:pt idx="93">
                  <c:v>-0.45770873957743502</c:v>
                </c:pt>
                <c:pt idx="94">
                  <c:v>-0.471122777733471</c:v>
                </c:pt>
                <c:pt idx="95">
                  <c:v>-0.477297397728494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-0.449612045582021</c:v>
                </c:pt>
                <c:pt idx="100">
                  <c:v>-0.38368998412166599</c:v>
                </c:pt>
                <c:pt idx="101">
                  <c:v>-0.37136265263058899</c:v>
                </c:pt>
                <c:pt idx="102">
                  <c:v>2</c:v>
                </c:pt>
                <c:pt idx="103">
                  <c:v>2</c:v>
                </c:pt>
                <c:pt idx="104">
                  <c:v>-0.39464153238772898</c:v>
                </c:pt>
                <c:pt idx="105">
                  <c:v>-0.49329309334577598</c:v>
                </c:pt>
                <c:pt idx="106">
                  <c:v>2</c:v>
                </c:pt>
                <c:pt idx="107">
                  <c:v>-0.418189792434984</c:v>
                </c:pt>
                <c:pt idx="108">
                  <c:v>-0.51939424698596204</c:v>
                </c:pt>
                <c:pt idx="109">
                  <c:v>-0.46707506185409903</c:v>
                </c:pt>
                <c:pt idx="110">
                  <c:v>2</c:v>
                </c:pt>
                <c:pt idx="111">
                  <c:v>-0.42654739046760898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-0.368462136519844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-0.35251387981757798</c:v>
                </c:pt>
                <c:pt idx="129">
                  <c:v>-0.44960502734950902</c:v>
                </c:pt>
                <c:pt idx="130">
                  <c:v>2</c:v>
                </c:pt>
                <c:pt idx="131">
                  <c:v>-0.56712845633487496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-0.44546095568673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-0.37762179629966802</c:v>
                </c:pt>
                <c:pt idx="146">
                  <c:v>-0.46958528491240997</c:v>
                </c:pt>
                <c:pt idx="147">
                  <c:v>-0.36660178554529299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-0.34131910704102197</c:v>
                </c:pt>
                <c:pt idx="152">
                  <c:v>-0.483518360353549</c:v>
                </c:pt>
                <c:pt idx="153">
                  <c:v>2</c:v>
                </c:pt>
                <c:pt idx="154">
                  <c:v>2</c:v>
                </c:pt>
                <c:pt idx="155">
                  <c:v>-0.410078337583962</c:v>
                </c:pt>
                <c:pt idx="156">
                  <c:v>2</c:v>
                </c:pt>
                <c:pt idx="157">
                  <c:v>2</c:v>
                </c:pt>
                <c:pt idx="158">
                  <c:v>-0.42828328484568201</c:v>
                </c:pt>
                <c:pt idx="159">
                  <c:v>-0.39356899585437799</c:v>
                </c:pt>
                <c:pt idx="160">
                  <c:v>-0.29139967580015802</c:v>
                </c:pt>
                <c:pt idx="161">
                  <c:v>2</c:v>
                </c:pt>
                <c:pt idx="162">
                  <c:v>-0.38070525460224702</c:v>
                </c:pt>
                <c:pt idx="163">
                  <c:v>-0.44047222541158398</c:v>
                </c:pt>
                <c:pt idx="164">
                  <c:v>-0.357178103525704</c:v>
                </c:pt>
                <c:pt idx="165">
                  <c:v>-0.42443120100846998</c:v>
                </c:pt>
                <c:pt idx="166">
                  <c:v>-0.20927577249950099</c:v>
                </c:pt>
                <c:pt idx="167">
                  <c:v>2</c:v>
                </c:pt>
                <c:pt idx="168">
                  <c:v>-0.38800940312797599</c:v>
                </c:pt>
                <c:pt idx="169">
                  <c:v>2</c:v>
                </c:pt>
                <c:pt idx="170">
                  <c:v>2</c:v>
                </c:pt>
                <c:pt idx="171">
                  <c:v>-0.40969004379603102</c:v>
                </c:pt>
                <c:pt idx="172">
                  <c:v>-0.36565184685130298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-0.266695352753549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-0.24500578680160701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-0.34380925895504699</c:v>
                </c:pt>
                <c:pt idx="217">
                  <c:v>2</c:v>
                </c:pt>
                <c:pt idx="218">
                  <c:v>-0.29681442267830499</c:v>
                </c:pt>
                <c:pt idx="219">
                  <c:v>-0.36971772034886402</c:v>
                </c:pt>
                <c:pt idx="220">
                  <c:v>-0.33137774748895499</c:v>
                </c:pt>
                <c:pt idx="221">
                  <c:v>-0.34980285540476802</c:v>
                </c:pt>
                <c:pt idx="222">
                  <c:v>-0.41351535788695098</c:v>
                </c:pt>
                <c:pt idx="223">
                  <c:v>-0.35898479082717599</c:v>
                </c:pt>
                <c:pt idx="224">
                  <c:v>-0.42802144966863398</c:v>
                </c:pt>
                <c:pt idx="225">
                  <c:v>-0.25331756989653498</c:v>
                </c:pt>
                <c:pt idx="226">
                  <c:v>-0.29261171449621298</c:v>
                </c:pt>
                <c:pt idx="227">
                  <c:v>-0.57183888829085505</c:v>
                </c:pt>
                <c:pt idx="228">
                  <c:v>-0.361823892346257</c:v>
                </c:pt>
                <c:pt idx="229">
                  <c:v>-0.43421597947662899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-0.52128071933547704</c:v>
                </c:pt>
                <c:pt idx="236">
                  <c:v>2</c:v>
                </c:pt>
                <c:pt idx="237">
                  <c:v>2</c:v>
                </c:pt>
                <c:pt idx="238">
                  <c:v>-0.44712594112042597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-0.36005940996976799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-0.41728153179660399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-0.38405381644409398</c:v>
                </c:pt>
                <c:pt idx="291">
                  <c:v>-0.48070263619200398</c:v>
                </c:pt>
                <c:pt idx="292">
                  <c:v>-0.364938048950669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-0.51940024899026904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-0.39320834389015702</c:v>
                </c:pt>
                <c:pt idx="302">
                  <c:v>2</c:v>
                </c:pt>
                <c:pt idx="303">
                  <c:v>2</c:v>
                </c:pt>
                <c:pt idx="304">
                  <c:v>-0.37507666869148798</c:v>
                </c:pt>
                <c:pt idx="305">
                  <c:v>2</c:v>
                </c:pt>
                <c:pt idx="306">
                  <c:v>-0.39896959149197198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-0.491407747452976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-0.25448364607298102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-0.38744894318364997</c:v>
                </c:pt>
                <c:pt idx="331">
                  <c:v>2</c:v>
                </c:pt>
                <c:pt idx="332">
                  <c:v>-0.36970801395117098</c:v>
                </c:pt>
                <c:pt idx="333">
                  <c:v>-0.36914752396665901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-0.32558991605241799</c:v>
                </c:pt>
                <c:pt idx="344">
                  <c:v>2</c:v>
                </c:pt>
                <c:pt idx="345">
                  <c:v>2</c:v>
                </c:pt>
                <c:pt idx="346">
                  <c:v>-0.49862784081453299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-0.32267793220483199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xVal>
          <c:yVal>
            <c:numRef>
              <c:f>'PCA-plot'!$Y$2:$Y$381</c:f>
              <c:numCache>
                <c:formatCode>General</c:formatCode>
                <c:ptCount val="38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  <c:pt idx="29">
                  <c:v>2</c:v>
                </c:pt>
                <c:pt idx="30">
                  <c:v>0.112210577348675</c:v>
                </c:pt>
                <c:pt idx="31">
                  <c:v>0.20592912939590199</c:v>
                </c:pt>
                <c:pt idx="32">
                  <c:v>2</c:v>
                </c:pt>
                <c:pt idx="33">
                  <c:v>2</c:v>
                </c:pt>
                <c:pt idx="34">
                  <c:v>0.19038819910169599</c:v>
                </c:pt>
                <c:pt idx="35">
                  <c:v>0.146002166352135</c:v>
                </c:pt>
                <c:pt idx="36">
                  <c:v>2</c:v>
                </c:pt>
                <c:pt idx="37">
                  <c:v>0.30972541225543199</c:v>
                </c:pt>
                <c:pt idx="38">
                  <c:v>2</c:v>
                </c:pt>
                <c:pt idx="39">
                  <c:v>2</c:v>
                </c:pt>
                <c:pt idx="40">
                  <c:v>0.29082826449112797</c:v>
                </c:pt>
                <c:pt idx="41">
                  <c:v>0.30951222299896503</c:v>
                </c:pt>
                <c:pt idx="42">
                  <c:v>2</c:v>
                </c:pt>
                <c:pt idx="43">
                  <c:v>2</c:v>
                </c:pt>
                <c:pt idx="44">
                  <c:v>2</c:v>
                </c:pt>
                <c:pt idx="45">
                  <c:v>2</c:v>
                </c:pt>
                <c:pt idx="46">
                  <c:v>0.20238001719427201</c:v>
                </c:pt>
                <c:pt idx="47">
                  <c:v>9.5646891897433806E-2</c:v>
                </c:pt>
                <c:pt idx="48">
                  <c:v>2</c:v>
                </c:pt>
                <c:pt idx="49">
                  <c:v>2</c:v>
                </c:pt>
                <c:pt idx="50">
                  <c:v>2</c:v>
                </c:pt>
                <c:pt idx="51">
                  <c:v>2</c:v>
                </c:pt>
                <c:pt idx="52">
                  <c:v>2</c:v>
                </c:pt>
                <c:pt idx="53">
                  <c:v>0.20121232124407801</c:v>
                </c:pt>
                <c:pt idx="54">
                  <c:v>2</c:v>
                </c:pt>
                <c:pt idx="55">
                  <c:v>0.16490676796015899</c:v>
                </c:pt>
                <c:pt idx="56">
                  <c:v>0.27648611181984001</c:v>
                </c:pt>
                <c:pt idx="57">
                  <c:v>0.29323686838831298</c:v>
                </c:pt>
                <c:pt idx="58">
                  <c:v>2</c:v>
                </c:pt>
                <c:pt idx="59">
                  <c:v>2</c:v>
                </c:pt>
                <c:pt idx="60">
                  <c:v>0.17642039243723001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2</c:v>
                </c:pt>
                <c:pt idx="65">
                  <c:v>0.24665144501400499</c:v>
                </c:pt>
                <c:pt idx="66">
                  <c:v>2</c:v>
                </c:pt>
                <c:pt idx="67">
                  <c:v>0.27028178421415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0.19352374201529099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</c:v>
                </c:pt>
                <c:pt idx="83">
                  <c:v>3.3268363433676298E-2</c:v>
                </c:pt>
                <c:pt idx="84">
                  <c:v>2</c:v>
                </c:pt>
                <c:pt idx="85">
                  <c:v>2</c:v>
                </c:pt>
                <c:pt idx="86">
                  <c:v>2</c:v>
                </c:pt>
                <c:pt idx="87">
                  <c:v>2</c:v>
                </c:pt>
                <c:pt idx="88">
                  <c:v>2</c:v>
                </c:pt>
                <c:pt idx="89">
                  <c:v>2</c:v>
                </c:pt>
                <c:pt idx="90">
                  <c:v>2</c:v>
                </c:pt>
                <c:pt idx="91">
                  <c:v>2</c:v>
                </c:pt>
                <c:pt idx="92">
                  <c:v>0.42764221732006302</c:v>
                </c:pt>
                <c:pt idx="93">
                  <c:v>0.31923771793960798</c:v>
                </c:pt>
                <c:pt idx="94">
                  <c:v>0.40008990304467801</c:v>
                </c:pt>
                <c:pt idx="95">
                  <c:v>0.45383136964050402</c:v>
                </c:pt>
                <c:pt idx="96">
                  <c:v>2</c:v>
                </c:pt>
                <c:pt idx="97">
                  <c:v>2</c:v>
                </c:pt>
                <c:pt idx="98">
                  <c:v>2</c:v>
                </c:pt>
                <c:pt idx="99">
                  <c:v>0.24837861454191301</c:v>
                </c:pt>
                <c:pt idx="100">
                  <c:v>0.242437001846526</c:v>
                </c:pt>
                <c:pt idx="101">
                  <c:v>0.38126191174769802</c:v>
                </c:pt>
                <c:pt idx="102">
                  <c:v>2</c:v>
                </c:pt>
                <c:pt idx="103">
                  <c:v>2</c:v>
                </c:pt>
                <c:pt idx="104">
                  <c:v>0.39428649487885897</c:v>
                </c:pt>
                <c:pt idx="105">
                  <c:v>0.367282337642648</c:v>
                </c:pt>
                <c:pt idx="106">
                  <c:v>2</c:v>
                </c:pt>
                <c:pt idx="107">
                  <c:v>0.26960433319048399</c:v>
                </c:pt>
                <c:pt idx="108">
                  <c:v>0.137285105996689</c:v>
                </c:pt>
                <c:pt idx="109">
                  <c:v>0.24327672648304099</c:v>
                </c:pt>
                <c:pt idx="110">
                  <c:v>2</c:v>
                </c:pt>
                <c:pt idx="111">
                  <c:v>0.46671552879641698</c:v>
                </c:pt>
                <c:pt idx="112">
                  <c:v>2</c:v>
                </c:pt>
                <c:pt idx="113">
                  <c:v>2</c:v>
                </c:pt>
                <c:pt idx="114">
                  <c:v>2</c:v>
                </c:pt>
                <c:pt idx="115">
                  <c:v>2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2</c:v>
                </c:pt>
                <c:pt idx="120">
                  <c:v>2</c:v>
                </c:pt>
                <c:pt idx="121">
                  <c:v>2</c:v>
                </c:pt>
                <c:pt idx="122">
                  <c:v>0.29210954663566302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2</c:v>
                </c:pt>
                <c:pt idx="127">
                  <c:v>2</c:v>
                </c:pt>
                <c:pt idx="128">
                  <c:v>0.14977107836713399</c:v>
                </c:pt>
                <c:pt idx="129">
                  <c:v>0.13548461816951901</c:v>
                </c:pt>
                <c:pt idx="130">
                  <c:v>2</c:v>
                </c:pt>
                <c:pt idx="131">
                  <c:v>0.15384846819857001</c:v>
                </c:pt>
                <c:pt idx="132">
                  <c:v>2</c:v>
                </c:pt>
                <c:pt idx="133">
                  <c:v>2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2</c:v>
                </c:pt>
                <c:pt idx="138">
                  <c:v>2</c:v>
                </c:pt>
                <c:pt idx="139">
                  <c:v>2</c:v>
                </c:pt>
                <c:pt idx="140">
                  <c:v>0.32571461368924698</c:v>
                </c:pt>
                <c:pt idx="141">
                  <c:v>2</c:v>
                </c:pt>
                <c:pt idx="142">
                  <c:v>2</c:v>
                </c:pt>
                <c:pt idx="143">
                  <c:v>2</c:v>
                </c:pt>
                <c:pt idx="144">
                  <c:v>2</c:v>
                </c:pt>
                <c:pt idx="145">
                  <c:v>0.30006414120101399</c:v>
                </c:pt>
                <c:pt idx="146">
                  <c:v>0.17086251465148999</c:v>
                </c:pt>
                <c:pt idx="147">
                  <c:v>0.43987689702236399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0.12609723991035601</c:v>
                </c:pt>
                <c:pt idx="152">
                  <c:v>0.326122290739777</c:v>
                </c:pt>
                <c:pt idx="153">
                  <c:v>2</c:v>
                </c:pt>
                <c:pt idx="154">
                  <c:v>2</c:v>
                </c:pt>
                <c:pt idx="155">
                  <c:v>0.156805599355124</c:v>
                </c:pt>
                <c:pt idx="156">
                  <c:v>2</c:v>
                </c:pt>
                <c:pt idx="157">
                  <c:v>2</c:v>
                </c:pt>
                <c:pt idx="158">
                  <c:v>0.34494253283667597</c:v>
                </c:pt>
                <c:pt idx="159">
                  <c:v>0.217826916981993</c:v>
                </c:pt>
                <c:pt idx="160">
                  <c:v>0.33517744998732601</c:v>
                </c:pt>
                <c:pt idx="161">
                  <c:v>2</c:v>
                </c:pt>
                <c:pt idx="162">
                  <c:v>6.1156789906882003E-2</c:v>
                </c:pt>
                <c:pt idx="163">
                  <c:v>0.29837500418982099</c:v>
                </c:pt>
                <c:pt idx="164">
                  <c:v>0.34301526049408398</c:v>
                </c:pt>
                <c:pt idx="165">
                  <c:v>0.42647278580827302</c:v>
                </c:pt>
                <c:pt idx="166">
                  <c:v>0.28504487145023899</c:v>
                </c:pt>
                <c:pt idx="167">
                  <c:v>2</c:v>
                </c:pt>
                <c:pt idx="168">
                  <c:v>0.34434949229504203</c:v>
                </c:pt>
                <c:pt idx="169">
                  <c:v>2</c:v>
                </c:pt>
                <c:pt idx="170">
                  <c:v>2</c:v>
                </c:pt>
                <c:pt idx="171">
                  <c:v>0.25749943084544602</c:v>
                </c:pt>
                <c:pt idx="172">
                  <c:v>0.419675660141614</c:v>
                </c:pt>
                <c:pt idx="173">
                  <c:v>2</c:v>
                </c:pt>
                <c:pt idx="174">
                  <c:v>2</c:v>
                </c:pt>
                <c:pt idx="175">
                  <c:v>2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2</c:v>
                </c:pt>
                <c:pt idx="181">
                  <c:v>2</c:v>
                </c:pt>
                <c:pt idx="182">
                  <c:v>2</c:v>
                </c:pt>
                <c:pt idx="183">
                  <c:v>2</c:v>
                </c:pt>
                <c:pt idx="184">
                  <c:v>2</c:v>
                </c:pt>
                <c:pt idx="185">
                  <c:v>2</c:v>
                </c:pt>
                <c:pt idx="186">
                  <c:v>0.19034715201806199</c:v>
                </c:pt>
                <c:pt idx="187">
                  <c:v>2</c:v>
                </c:pt>
                <c:pt idx="188">
                  <c:v>2</c:v>
                </c:pt>
                <c:pt idx="189">
                  <c:v>2</c:v>
                </c:pt>
                <c:pt idx="190">
                  <c:v>2</c:v>
                </c:pt>
                <c:pt idx="191">
                  <c:v>0.314168728763007</c:v>
                </c:pt>
                <c:pt idx="192">
                  <c:v>2</c:v>
                </c:pt>
                <c:pt idx="193">
                  <c:v>2</c:v>
                </c:pt>
                <c:pt idx="194">
                  <c:v>2</c:v>
                </c:pt>
                <c:pt idx="195">
                  <c:v>2</c:v>
                </c:pt>
                <c:pt idx="196">
                  <c:v>2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2</c:v>
                </c:pt>
                <c:pt idx="201">
                  <c:v>2</c:v>
                </c:pt>
                <c:pt idx="202">
                  <c:v>2</c:v>
                </c:pt>
                <c:pt idx="203">
                  <c:v>2</c:v>
                </c:pt>
                <c:pt idx="204">
                  <c:v>2</c:v>
                </c:pt>
                <c:pt idx="205">
                  <c:v>2</c:v>
                </c:pt>
                <c:pt idx="206">
                  <c:v>2</c:v>
                </c:pt>
                <c:pt idx="207">
                  <c:v>2</c:v>
                </c:pt>
                <c:pt idx="208">
                  <c:v>2</c:v>
                </c:pt>
                <c:pt idx="209">
                  <c:v>2</c:v>
                </c:pt>
                <c:pt idx="210">
                  <c:v>2</c:v>
                </c:pt>
                <c:pt idx="211">
                  <c:v>2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2</c:v>
                </c:pt>
                <c:pt idx="216">
                  <c:v>0.35440656299284101</c:v>
                </c:pt>
                <c:pt idx="217">
                  <c:v>2</c:v>
                </c:pt>
                <c:pt idx="218">
                  <c:v>0.34537825325579602</c:v>
                </c:pt>
                <c:pt idx="219">
                  <c:v>0.37579585561149698</c:v>
                </c:pt>
                <c:pt idx="220">
                  <c:v>0.176641347004236</c:v>
                </c:pt>
                <c:pt idx="221">
                  <c:v>0.41545755210306201</c:v>
                </c:pt>
                <c:pt idx="222">
                  <c:v>0.36553055690897401</c:v>
                </c:pt>
                <c:pt idx="223">
                  <c:v>0.33028653390219798</c:v>
                </c:pt>
                <c:pt idx="224">
                  <c:v>0.42567184195318197</c:v>
                </c:pt>
                <c:pt idx="225">
                  <c:v>0.32037110482783998</c:v>
                </c:pt>
                <c:pt idx="226">
                  <c:v>0.351434266182584</c:v>
                </c:pt>
                <c:pt idx="227">
                  <c:v>0.26852619779857001</c:v>
                </c:pt>
                <c:pt idx="228">
                  <c:v>0.44564730251741602</c:v>
                </c:pt>
                <c:pt idx="229">
                  <c:v>0.36451355727252299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1.9069338875202999E-2</c:v>
                </c:pt>
                <c:pt idx="236">
                  <c:v>2</c:v>
                </c:pt>
                <c:pt idx="237">
                  <c:v>2</c:v>
                </c:pt>
                <c:pt idx="238">
                  <c:v>3.9621712812407298E-2</c:v>
                </c:pt>
                <c:pt idx="239">
                  <c:v>2</c:v>
                </c:pt>
                <c:pt idx="240">
                  <c:v>2</c:v>
                </c:pt>
                <c:pt idx="241">
                  <c:v>2</c:v>
                </c:pt>
                <c:pt idx="242">
                  <c:v>2.5240421311811301E-2</c:v>
                </c:pt>
                <c:pt idx="243">
                  <c:v>2</c:v>
                </c:pt>
                <c:pt idx="244">
                  <c:v>2</c:v>
                </c:pt>
                <c:pt idx="245">
                  <c:v>2</c:v>
                </c:pt>
                <c:pt idx="246">
                  <c:v>2</c:v>
                </c:pt>
                <c:pt idx="247">
                  <c:v>2</c:v>
                </c:pt>
                <c:pt idx="248">
                  <c:v>2</c:v>
                </c:pt>
                <c:pt idx="249">
                  <c:v>2</c:v>
                </c:pt>
                <c:pt idx="250">
                  <c:v>2</c:v>
                </c:pt>
                <c:pt idx="251">
                  <c:v>2</c:v>
                </c:pt>
                <c:pt idx="252">
                  <c:v>2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2</c:v>
                </c:pt>
                <c:pt idx="258">
                  <c:v>0.12767348399234099</c:v>
                </c:pt>
                <c:pt idx="259">
                  <c:v>2</c:v>
                </c:pt>
                <c:pt idx="260">
                  <c:v>2</c:v>
                </c:pt>
                <c:pt idx="261">
                  <c:v>2</c:v>
                </c:pt>
                <c:pt idx="262">
                  <c:v>2</c:v>
                </c:pt>
                <c:pt idx="263">
                  <c:v>2</c:v>
                </c:pt>
                <c:pt idx="264">
                  <c:v>2</c:v>
                </c:pt>
                <c:pt idx="265">
                  <c:v>2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2</c:v>
                </c:pt>
                <c:pt idx="273">
                  <c:v>2</c:v>
                </c:pt>
                <c:pt idx="274">
                  <c:v>2</c:v>
                </c:pt>
                <c:pt idx="275">
                  <c:v>2</c:v>
                </c:pt>
                <c:pt idx="276">
                  <c:v>2</c:v>
                </c:pt>
                <c:pt idx="277">
                  <c:v>2</c:v>
                </c:pt>
                <c:pt idx="278">
                  <c:v>2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2</c:v>
                </c:pt>
                <c:pt idx="286">
                  <c:v>2</c:v>
                </c:pt>
                <c:pt idx="287">
                  <c:v>2</c:v>
                </c:pt>
                <c:pt idx="288">
                  <c:v>2</c:v>
                </c:pt>
                <c:pt idx="289">
                  <c:v>2</c:v>
                </c:pt>
                <c:pt idx="290">
                  <c:v>0.28683164753868601</c:v>
                </c:pt>
                <c:pt idx="291">
                  <c:v>0.25920859681714897</c:v>
                </c:pt>
                <c:pt idx="292">
                  <c:v>1.2749610774639901E-2</c:v>
                </c:pt>
                <c:pt idx="293">
                  <c:v>2</c:v>
                </c:pt>
                <c:pt idx="294">
                  <c:v>2</c:v>
                </c:pt>
                <c:pt idx="295">
                  <c:v>2</c:v>
                </c:pt>
                <c:pt idx="296">
                  <c:v>0.18746467736692299</c:v>
                </c:pt>
                <c:pt idx="297">
                  <c:v>2</c:v>
                </c:pt>
                <c:pt idx="298">
                  <c:v>2</c:v>
                </c:pt>
                <c:pt idx="299">
                  <c:v>2</c:v>
                </c:pt>
                <c:pt idx="300">
                  <c:v>2</c:v>
                </c:pt>
                <c:pt idx="301">
                  <c:v>0.12673553446126001</c:v>
                </c:pt>
                <c:pt idx="302">
                  <c:v>2</c:v>
                </c:pt>
                <c:pt idx="303">
                  <c:v>2</c:v>
                </c:pt>
                <c:pt idx="304">
                  <c:v>0.26936010236894598</c:v>
                </c:pt>
                <c:pt idx="305">
                  <c:v>2</c:v>
                </c:pt>
                <c:pt idx="306">
                  <c:v>0.20483052691286599</c:v>
                </c:pt>
                <c:pt idx="307">
                  <c:v>2</c:v>
                </c:pt>
                <c:pt idx="308">
                  <c:v>2</c:v>
                </c:pt>
                <c:pt idx="309">
                  <c:v>2</c:v>
                </c:pt>
                <c:pt idx="310">
                  <c:v>2</c:v>
                </c:pt>
                <c:pt idx="311">
                  <c:v>2</c:v>
                </c:pt>
                <c:pt idx="312">
                  <c:v>2</c:v>
                </c:pt>
                <c:pt idx="313">
                  <c:v>2</c:v>
                </c:pt>
                <c:pt idx="314">
                  <c:v>0.20287851202687401</c:v>
                </c:pt>
                <c:pt idx="315">
                  <c:v>2</c:v>
                </c:pt>
                <c:pt idx="316">
                  <c:v>2</c:v>
                </c:pt>
                <c:pt idx="317">
                  <c:v>2</c:v>
                </c:pt>
                <c:pt idx="318">
                  <c:v>2</c:v>
                </c:pt>
                <c:pt idx="319">
                  <c:v>2</c:v>
                </c:pt>
                <c:pt idx="320">
                  <c:v>0.33178028726131797</c:v>
                </c:pt>
                <c:pt idx="321">
                  <c:v>2</c:v>
                </c:pt>
                <c:pt idx="322">
                  <c:v>2</c:v>
                </c:pt>
                <c:pt idx="323">
                  <c:v>2</c:v>
                </c:pt>
                <c:pt idx="324">
                  <c:v>2</c:v>
                </c:pt>
                <c:pt idx="325">
                  <c:v>2</c:v>
                </c:pt>
                <c:pt idx="326">
                  <c:v>2</c:v>
                </c:pt>
                <c:pt idx="327">
                  <c:v>2</c:v>
                </c:pt>
                <c:pt idx="328">
                  <c:v>2</c:v>
                </c:pt>
                <c:pt idx="329">
                  <c:v>2</c:v>
                </c:pt>
                <c:pt idx="330">
                  <c:v>0.10795353659871</c:v>
                </c:pt>
                <c:pt idx="331">
                  <c:v>2</c:v>
                </c:pt>
                <c:pt idx="332">
                  <c:v>0.298913099567644</c:v>
                </c:pt>
                <c:pt idx="333">
                  <c:v>0.194738876474918</c:v>
                </c:pt>
                <c:pt idx="334">
                  <c:v>2</c:v>
                </c:pt>
                <c:pt idx="335">
                  <c:v>2</c:v>
                </c:pt>
                <c:pt idx="336">
                  <c:v>2</c:v>
                </c:pt>
                <c:pt idx="337">
                  <c:v>2</c:v>
                </c:pt>
                <c:pt idx="338">
                  <c:v>2</c:v>
                </c:pt>
                <c:pt idx="339">
                  <c:v>2</c:v>
                </c:pt>
                <c:pt idx="340">
                  <c:v>2</c:v>
                </c:pt>
                <c:pt idx="341">
                  <c:v>2</c:v>
                </c:pt>
                <c:pt idx="342">
                  <c:v>2</c:v>
                </c:pt>
                <c:pt idx="343">
                  <c:v>0.21667656241237601</c:v>
                </c:pt>
                <c:pt idx="344">
                  <c:v>2</c:v>
                </c:pt>
                <c:pt idx="345">
                  <c:v>2</c:v>
                </c:pt>
                <c:pt idx="346">
                  <c:v>0.207191248403441</c:v>
                </c:pt>
                <c:pt idx="347">
                  <c:v>2</c:v>
                </c:pt>
                <c:pt idx="348">
                  <c:v>2</c:v>
                </c:pt>
                <c:pt idx="349">
                  <c:v>2</c:v>
                </c:pt>
                <c:pt idx="350">
                  <c:v>0.25835183279794799</c:v>
                </c:pt>
                <c:pt idx="351">
                  <c:v>2</c:v>
                </c:pt>
                <c:pt idx="352">
                  <c:v>2</c:v>
                </c:pt>
                <c:pt idx="353">
                  <c:v>2</c:v>
                </c:pt>
                <c:pt idx="354">
                  <c:v>2</c:v>
                </c:pt>
                <c:pt idx="355">
                  <c:v>2</c:v>
                </c:pt>
                <c:pt idx="356">
                  <c:v>2</c:v>
                </c:pt>
                <c:pt idx="357">
                  <c:v>2</c:v>
                </c:pt>
                <c:pt idx="358">
                  <c:v>2</c:v>
                </c:pt>
                <c:pt idx="359">
                  <c:v>2</c:v>
                </c:pt>
                <c:pt idx="360">
                  <c:v>2</c:v>
                </c:pt>
                <c:pt idx="361">
                  <c:v>2</c:v>
                </c:pt>
                <c:pt idx="362">
                  <c:v>2</c:v>
                </c:pt>
                <c:pt idx="363">
                  <c:v>2</c:v>
                </c:pt>
                <c:pt idx="364">
                  <c:v>2</c:v>
                </c:pt>
                <c:pt idx="365">
                  <c:v>2</c:v>
                </c:pt>
                <c:pt idx="366">
                  <c:v>2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2</c:v>
                </c:pt>
                <c:pt idx="375">
                  <c:v>2</c:v>
                </c:pt>
                <c:pt idx="376">
                  <c:v>2</c:v>
                </c:pt>
                <c:pt idx="377">
                  <c:v>2</c:v>
                </c:pt>
                <c:pt idx="378">
                  <c:v>2</c:v>
                </c:pt>
                <c:pt idx="379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5AB5-46AC-868F-852CA0568E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56051279"/>
        <c:axId val="1219169983"/>
      </c:scatterChart>
      <c:valAx>
        <c:axId val="1356051279"/>
        <c:scaling>
          <c:orientation val="minMax"/>
          <c:max val="1"/>
          <c:min val="-0.60000000000000009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C1 - 21%</a:t>
                </a:r>
                <a:endParaRPr lang="pl-PL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1219169983"/>
        <c:crosses val="autoZero"/>
        <c:crossBetween val="midCat"/>
      </c:valAx>
      <c:valAx>
        <c:axId val="1219169983"/>
        <c:scaling>
          <c:orientation val="minMax"/>
          <c:max val="0.60000000000000009"/>
          <c:min val="-1.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C</a:t>
                </a:r>
                <a:r>
                  <a:rPr lang="en-US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 - 17%</a:t>
                </a:r>
                <a:endParaRPr lang="pl-PL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135605127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pl-P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/>
                </a:solidFill>
              </a:rPr>
              <a:t>2015 </a:t>
            </a:r>
            <a:r>
              <a:rPr lang="en-US" dirty="0" err="1">
                <a:solidFill>
                  <a:schemeClr val="tx1"/>
                </a:solidFill>
              </a:rPr>
              <a:t>rok</a:t>
            </a:r>
            <a:endParaRPr lang="pl-PL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/>
      <c:scatterChart>
        <c:scatterStyle val="lineMarker"/>
        <c:varyColors val="0"/>
        <c:ser>
          <c:idx val="1"/>
          <c:order val="0"/>
          <c:tx>
            <c:v>grupa 1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pca-p1'!$H$2:$H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0.22813164763525501</c:v>
                </c:pt>
                <c:pt idx="75">
                  <c:v>0.20634591381647199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6.5438238414797206E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2.31618593927762E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3.64100785311205E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0.20624720922305101</c:v>
                </c:pt>
                <c:pt idx="177">
                  <c:v>0.226927258778538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0.21360546979256301</c:v>
                </c:pt>
                <c:pt idx="267">
                  <c:v>7.5879248714542893E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0.17083792368160999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6.74531056554631E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0.203072062113726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-p1'!$I$2:$I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0.37749756476318302</c:v>
                </c:pt>
                <c:pt idx="75">
                  <c:v>0.38088012768330398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0.211206489312106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0.26632039852257999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0.41941446197137899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0.31087484604598598</c:v>
                </c:pt>
                <c:pt idx="177">
                  <c:v>0.41513487224742701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0.16010415356213001</c:v>
                </c:pt>
                <c:pt idx="267">
                  <c:v>0.35934250514328703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0.24527278445120501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0.20394003220244999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0.24692789397575801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5B8-4022-9CCF-53DF25A73AF2}"/>
            </c:ext>
          </c:extLst>
        </c:ser>
        <c:ser>
          <c:idx val="2"/>
          <c:order val="1"/>
          <c:tx>
            <c:v>grupa 2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rgbClr val="FF00FF"/>
                </a:solidFill>
              </a:ln>
              <a:effectLst/>
            </c:spPr>
          </c:marker>
          <c:xVal>
            <c:numRef>
              <c:f>'pca-p1'!$J$2:$J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0.26024757141941801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0.843532859753932</c:v>
                </c:pt>
                <c:pt idx="27">
                  <c:v>0.61998258520271898</c:v>
                </c:pt>
                <c:pt idx="28">
                  <c:v>0.46043137987880101</c:v>
                </c:pt>
                <c:pt idx="29">
                  <c:v>0.69558902298935499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0.84180875601237304</c:v>
                </c:pt>
                <c:pt idx="50">
                  <c:v>0.53064213782862102</c:v>
                </c:pt>
                <c:pt idx="51">
                  <c:v>0.483514707746868</c:v>
                </c:pt>
                <c:pt idx="52">
                  <c:v>0.55318177660418499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0.37422582144991701</c:v>
                </c:pt>
                <c:pt idx="74">
                  <c:v>-2</c:v>
                </c:pt>
                <c:pt idx="75">
                  <c:v>-2</c:v>
                </c:pt>
                <c:pt idx="76">
                  <c:v>0.48039778996462901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0.802666689837091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0.518176088475087</c:v>
                </c:pt>
                <c:pt idx="113">
                  <c:v>0.51241760853565999</c:v>
                </c:pt>
                <c:pt idx="114">
                  <c:v>0.339769272973449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0.64689394448881699</c:v>
                </c:pt>
                <c:pt idx="135">
                  <c:v>0.41443630465243703</c:v>
                </c:pt>
                <c:pt idx="136">
                  <c:v>0.70287258043546497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0.29382137174852901</c:v>
                </c:pt>
                <c:pt idx="175">
                  <c:v>0.64436985152701298</c:v>
                </c:pt>
                <c:pt idx="176">
                  <c:v>-2</c:v>
                </c:pt>
                <c:pt idx="177">
                  <c:v>-2</c:v>
                </c:pt>
                <c:pt idx="178">
                  <c:v>0.54569663785600997</c:v>
                </c:pt>
                <c:pt idx="179">
                  <c:v>-2</c:v>
                </c:pt>
                <c:pt idx="180">
                  <c:v>-2</c:v>
                </c:pt>
                <c:pt idx="181">
                  <c:v>0.3782896234651850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0.50904252153387497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0.410160704946887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0.45206923478097299</c:v>
                </c:pt>
                <c:pt idx="213">
                  <c:v>-2</c:v>
                </c:pt>
                <c:pt idx="214">
                  <c:v>0.57297746356771995</c:v>
                </c:pt>
                <c:pt idx="215">
                  <c:v>0.449898021468149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0.581848855747918</c:v>
                </c:pt>
                <c:pt idx="231">
                  <c:v>0.47520387515954099</c:v>
                </c:pt>
                <c:pt idx="232">
                  <c:v>0.62248981280289095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0.64006029607734205</c:v>
                </c:pt>
                <c:pt idx="250">
                  <c:v>0.29688118372457101</c:v>
                </c:pt>
                <c:pt idx="251">
                  <c:v>0.48584999544852397</c:v>
                </c:pt>
                <c:pt idx="252">
                  <c:v>0.63574940473282904</c:v>
                </c:pt>
                <c:pt idx="253">
                  <c:v>0.28827225161547898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0.67791426420269096</c:v>
                </c:pt>
                <c:pt idx="271">
                  <c:v>-2</c:v>
                </c:pt>
                <c:pt idx="272">
                  <c:v>-2</c:v>
                </c:pt>
                <c:pt idx="273">
                  <c:v>0.41355001207862002</c:v>
                </c:pt>
                <c:pt idx="274">
                  <c:v>0.39785239937857703</c:v>
                </c:pt>
                <c:pt idx="275">
                  <c:v>0.514191124871201</c:v>
                </c:pt>
                <c:pt idx="276">
                  <c:v>0.343611876688516</c:v>
                </c:pt>
                <c:pt idx="277">
                  <c:v>-2</c:v>
                </c:pt>
                <c:pt idx="278">
                  <c:v>0.77642864869148398</c:v>
                </c:pt>
                <c:pt idx="279">
                  <c:v>-2</c:v>
                </c:pt>
                <c:pt idx="280">
                  <c:v>0.60792340643153198</c:v>
                </c:pt>
                <c:pt idx="281">
                  <c:v>0.74140164486812599</c:v>
                </c:pt>
                <c:pt idx="282">
                  <c:v>0.58393120454437397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0.86624110769394902</c:v>
                </c:pt>
                <c:pt idx="287">
                  <c:v>-2</c:v>
                </c:pt>
                <c:pt idx="288">
                  <c:v>0.40964589490587699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0.42172565641494397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0.54605701468289303</c:v>
                </c:pt>
                <c:pt idx="323">
                  <c:v>0.80743488719397905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0.493289724635808</c:v>
                </c:pt>
                <c:pt idx="356">
                  <c:v>-2</c:v>
                </c:pt>
                <c:pt idx="357">
                  <c:v>0.64396495773964102</c:v>
                </c:pt>
                <c:pt idx="358">
                  <c:v>0.64201649587429099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0.70960094032743104</c:v>
                </c:pt>
                <c:pt idx="378">
                  <c:v>0.62533187553120995</c:v>
                </c:pt>
                <c:pt idx="379">
                  <c:v>-2</c:v>
                </c:pt>
              </c:numCache>
            </c:numRef>
          </c:xVal>
          <c:yVal>
            <c:numRef>
              <c:f>'pca-p1'!$K$2:$K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5.0151689294250797E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0.192082156301881</c:v>
                </c:pt>
                <c:pt idx="27">
                  <c:v>4.4574026582178697E-2</c:v>
                </c:pt>
                <c:pt idx="28">
                  <c:v>0.35308306302093401</c:v>
                </c:pt>
                <c:pt idx="29">
                  <c:v>0.138353492862821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0.37833060332030299</c:v>
                </c:pt>
                <c:pt idx="50">
                  <c:v>0.12825844976501799</c:v>
                </c:pt>
                <c:pt idx="51">
                  <c:v>0.31983686309722997</c:v>
                </c:pt>
                <c:pt idx="52">
                  <c:v>0.198612276480817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0.30032728211217802</c:v>
                </c:pt>
                <c:pt idx="74">
                  <c:v>-2</c:v>
                </c:pt>
                <c:pt idx="75">
                  <c:v>-2</c:v>
                </c:pt>
                <c:pt idx="76">
                  <c:v>9.6829628009409696E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0.15833686756633999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0.24484360924501999</c:v>
                </c:pt>
                <c:pt idx="113">
                  <c:v>0.19505637479468799</c:v>
                </c:pt>
                <c:pt idx="114">
                  <c:v>0.3014739480892050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0.146182366829052</c:v>
                </c:pt>
                <c:pt idx="135">
                  <c:v>0.42952856190597999</c:v>
                </c:pt>
                <c:pt idx="136">
                  <c:v>0.18744866254808101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0.21871590801228599</c:v>
                </c:pt>
                <c:pt idx="175">
                  <c:v>0.191091500314479</c:v>
                </c:pt>
                <c:pt idx="176">
                  <c:v>-2</c:v>
                </c:pt>
                <c:pt idx="177">
                  <c:v>-2</c:v>
                </c:pt>
                <c:pt idx="178">
                  <c:v>0.13349873266413501</c:v>
                </c:pt>
                <c:pt idx="179">
                  <c:v>-2</c:v>
                </c:pt>
                <c:pt idx="180">
                  <c:v>-2</c:v>
                </c:pt>
                <c:pt idx="181">
                  <c:v>4.2551174174429399E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0.31581652997785098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0.20898376787692699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0.32914651601191502</c:v>
                </c:pt>
                <c:pt idx="213">
                  <c:v>-2</c:v>
                </c:pt>
                <c:pt idx="214">
                  <c:v>0.25638843905508202</c:v>
                </c:pt>
                <c:pt idx="215">
                  <c:v>0.10520322297446801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0.43954288631384503</c:v>
                </c:pt>
                <c:pt idx="231">
                  <c:v>0.22537739505965301</c:v>
                </c:pt>
                <c:pt idx="232">
                  <c:v>0.243336328015159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0.26437008428241798</c:v>
                </c:pt>
                <c:pt idx="250">
                  <c:v>0.308231884152256</c:v>
                </c:pt>
                <c:pt idx="251">
                  <c:v>0.26542745281821001</c:v>
                </c:pt>
                <c:pt idx="252">
                  <c:v>0.341285978973422</c:v>
                </c:pt>
                <c:pt idx="253">
                  <c:v>8.25574277575232E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0.40356771618131698</c:v>
                </c:pt>
                <c:pt idx="271">
                  <c:v>-2</c:v>
                </c:pt>
                <c:pt idx="272">
                  <c:v>-2</c:v>
                </c:pt>
                <c:pt idx="273">
                  <c:v>0.34979298845053403</c:v>
                </c:pt>
                <c:pt idx="274">
                  <c:v>4.5117146272401903E-3</c:v>
                </c:pt>
                <c:pt idx="275">
                  <c:v>0.16928851953561999</c:v>
                </c:pt>
                <c:pt idx="276">
                  <c:v>0.21695117437828901</c:v>
                </c:pt>
                <c:pt idx="277">
                  <c:v>-2</c:v>
                </c:pt>
                <c:pt idx="278">
                  <c:v>0.20232267484857699</c:v>
                </c:pt>
                <c:pt idx="279">
                  <c:v>-2</c:v>
                </c:pt>
                <c:pt idx="280">
                  <c:v>9.3308326115158199E-2</c:v>
                </c:pt>
                <c:pt idx="281">
                  <c:v>2.7075393133270498E-2</c:v>
                </c:pt>
                <c:pt idx="282">
                  <c:v>0.218046649064603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4.32366685879087E-2</c:v>
                </c:pt>
                <c:pt idx="287">
                  <c:v>-2</c:v>
                </c:pt>
                <c:pt idx="288">
                  <c:v>3.6748536637082302E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0.35538927160322697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7.7441264016820902E-2</c:v>
                </c:pt>
                <c:pt idx="323">
                  <c:v>0.14627572593794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0.178902010253876</c:v>
                </c:pt>
                <c:pt idx="356">
                  <c:v>-2</c:v>
                </c:pt>
                <c:pt idx="357">
                  <c:v>0.29765786431991398</c:v>
                </c:pt>
                <c:pt idx="358">
                  <c:v>0.45646465375830098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0.12620255505636099</c:v>
                </c:pt>
                <c:pt idx="378">
                  <c:v>0.32556274806622698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5B8-4022-9CCF-53DF25A73AF2}"/>
            </c:ext>
          </c:extLst>
        </c:ser>
        <c:ser>
          <c:idx val="3"/>
          <c:order val="2"/>
          <c:tx>
            <c:v>grupa 3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'pca-p1'!$L$2:$L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0.21120040943893101</c:v>
                </c:pt>
                <c:pt idx="5">
                  <c:v>-2</c:v>
                </c:pt>
                <c:pt idx="6">
                  <c:v>0.22440639490831801</c:v>
                </c:pt>
                <c:pt idx="7">
                  <c:v>0.19267144720738699</c:v>
                </c:pt>
                <c:pt idx="8">
                  <c:v>-2</c:v>
                </c:pt>
                <c:pt idx="9">
                  <c:v>0.32430059542543399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0.28475523213764298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0.246461742652787</c:v>
                </c:pt>
                <c:pt idx="25">
                  <c:v>0.153361297246008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0.309031049130645</c:v>
                </c:pt>
                <c:pt idx="37">
                  <c:v>-2</c:v>
                </c:pt>
                <c:pt idx="38">
                  <c:v>-2</c:v>
                </c:pt>
                <c:pt idx="39">
                  <c:v>9.6638511398493804E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2.52320933487763E-2</c:v>
                </c:pt>
                <c:pt idx="44">
                  <c:v>-2</c:v>
                </c:pt>
                <c:pt idx="45">
                  <c:v>4.8699613430463903E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2.97773463422367E-2</c:v>
                </c:pt>
                <c:pt idx="80">
                  <c:v>-2</c:v>
                </c:pt>
                <c:pt idx="81">
                  <c:v>5.8830471189446801E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5.3510306868074599E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0.16707282430924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0.2994800590486200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1.0452492896361599E-3</c:v>
                </c:pt>
                <c:pt idx="304">
                  <c:v>0.12868520542316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0.14888486661388201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0.28568615348563198</c:v>
                </c:pt>
                <c:pt idx="313">
                  <c:v>-2</c:v>
                </c:pt>
                <c:pt idx="314">
                  <c:v>-2</c:v>
                </c:pt>
                <c:pt idx="315">
                  <c:v>0.12689535882302</c:v>
                </c:pt>
                <c:pt idx="316">
                  <c:v>-2</c:v>
                </c:pt>
                <c:pt idx="317">
                  <c:v>3.7462482062525303E-2</c:v>
                </c:pt>
                <c:pt idx="318">
                  <c:v>-2</c:v>
                </c:pt>
                <c:pt idx="319">
                  <c:v>-2</c:v>
                </c:pt>
                <c:pt idx="320">
                  <c:v>0.15411838845485601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0.12152636388713001</c:v>
                </c:pt>
                <c:pt idx="327">
                  <c:v>5.05193407170898E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0.17396530654650499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0.22246435605832501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5.77184518178026E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6.4335874156715598E-3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0.191006475012407</c:v>
                </c:pt>
                <c:pt idx="360">
                  <c:v>-2</c:v>
                </c:pt>
                <c:pt idx="361">
                  <c:v>0.27213532438288401</c:v>
                </c:pt>
                <c:pt idx="362">
                  <c:v>0.12745102830016899</c:v>
                </c:pt>
                <c:pt idx="363">
                  <c:v>0.24481737987324401</c:v>
                </c:pt>
                <c:pt idx="364">
                  <c:v>-2</c:v>
                </c:pt>
                <c:pt idx="365">
                  <c:v>-2</c:v>
                </c:pt>
                <c:pt idx="366">
                  <c:v>0.29688284294207701</c:v>
                </c:pt>
                <c:pt idx="367">
                  <c:v>-2</c:v>
                </c:pt>
                <c:pt idx="368">
                  <c:v>8.6186894601166297E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0.14192031360181301</c:v>
                </c:pt>
                <c:pt idx="373">
                  <c:v>0.33937872161461102</c:v>
                </c:pt>
                <c:pt idx="374">
                  <c:v>-2</c:v>
                </c:pt>
                <c:pt idx="375">
                  <c:v>3.85073242899917E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-p1'!$M$2:$M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0.59252672309313503</c:v>
                </c:pt>
                <c:pt idx="5">
                  <c:v>-2</c:v>
                </c:pt>
                <c:pt idx="6">
                  <c:v>-0.40254418320500301</c:v>
                </c:pt>
                <c:pt idx="7">
                  <c:v>-0.29463951010051898</c:v>
                </c:pt>
                <c:pt idx="8">
                  <c:v>-2</c:v>
                </c:pt>
                <c:pt idx="9">
                  <c:v>-0.30905888107831397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0.30391689035587799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0.19674013542881699</c:v>
                </c:pt>
                <c:pt idx="25">
                  <c:v>-0.36753295152100501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0.35776760623160098</c:v>
                </c:pt>
                <c:pt idx="37">
                  <c:v>-2</c:v>
                </c:pt>
                <c:pt idx="38">
                  <c:v>-2</c:v>
                </c:pt>
                <c:pt idx="39">
                  <c:v>-0.326074792698895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0.385210713495441</c:v>
                </c:pt>
                <c:pt idx="44">
                  <c:v>-2</c:v>
                </c:pt>
                <c:pt idx="45">
                  <c:v>-0.29582131320480398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0.54776904011775096</c:v>
                </c:pt>
                <c:pt idx="80">
                  <c:v>-2</c:v>
                </c:pt>
                <c:pt idx="81">
                  <c:v>-0.43119859841101799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0.19407293277056101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0.30568633917328197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0.23628874237314601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0.68051377341930597</c:v>
                </c:pt>
                <c:pt idx="304">
                  <c:v>-0.52643342942827598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0.32836968263208499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0.47332049731776499</c:v>
                </c:pt>
                <c:pt idx="313">
                  <c:v>-2</c:v>
                </c:pt>
                <c:pt idx="314">
                  <c:v>-2</c:v>
                </c:pt>
                <c:pt idx="315">
                  <c:v>-0.85020239022025201</c:v>
                </c:pt>
                <c:pt idx="316">
                  <c:v>-2</c:v>
                </c:pt>
                <c:pt idx="317">
                  <c:v>-0.38693546856885502</c:v>
                </c:pt>
                <c:pt idx="318">
                  <c:v>-2</c:v>
                </c:pt>
                <c:pt idx="319">
                  <c:v>-2</c:v>
                </c:pt>
                <c:pt idx="320">
                  <c:v>-0.718756486820056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0.22170943757022599</c:v>
                </c:pt>
                <c:pt idx="327">
                  <c:v>-0.20712068070471901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0.32798628367351501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0.23142265286664401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0.21350302201677801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0.29646156659501499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0.39697410596772498</c:v>
                </c:pt>
                <c:pt idx="360">
                  <c:v>-2</c:v>
                </c:pt>
                <c:pt idx="361">
                  <c:v>-0.81321785383901102</c:v>
                </c:pt>
                <c:pt idx="362">
                  <c:v>-0.32520406389992401</c:v>
                </c:pt>
                <c:pt idx="363">
                  <c:v>-0.55542871145068495</c:v>
                </c:pt>
                <c:pt idx="364">
                  <c:v>-2</c:v>
                </c:pt>
                <c:pt idx="365">
                  <c:v>-2</c:v>
                </c:pt>
                <c:pt idx="366">
                  <c:v>-0.215755807641419</c:v>
                </c:pt>
                <c:pt idx="367">
                  <c:v>-2</c:v>
                </c:pt>
                <c:pt idx="368">
                  <c:v>-0.38791061925194698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0.25142206935921801</c:v>
                </c:pt>
                <c:pt idx="373">
                  <c:v>-0.54929396917342699</c:v>
                </c:pt>
                <c:pt idx="374">
                  <c:v>-2</c:v>
                </c:pt>
                <c:pt idx="375">
                  <c:v>-0.40070332108939299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5B8-4022-9CCF-53DF25A73AF2}"/>
            </c:ext>
          </c:extLst>
        </c:ser>
        <c:ser>
          <c:idx val="4"/>
          <c:order val="3"/>
          <c:tx>
            <c:v>grupa 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5"/>
                </a:solidFill>
              </a:ln>
              <a:effectLst/>
            </c:spPr>
          </c:marker>
          <c:xVal>
            <c:numRef>
              <c:f>'pca-p1'!$N$2:$N$381</c:f>
              <c:numCache>
                <c:formatCode>General</c:formatCode>
                <c:ptCount val="380"/>
                <c:pt idx="0">
                  <c:v>-2</c:v>
                </c:pt>
                <c:pt idx="1">
                  <c:v>0.242381594380741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0.23554150945852301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0.26651395286539098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0.64636424501852197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0.47322437781555299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0.95955555044008001</c:v>
                </c:pt>
                <c:pt idx="272">
                  <c:v>0.78540654285654399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0.8932182083652380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1.0442995410090601</c:v>
                </c:pt>
                <c:pt idx="284">
                  <c:v>0.90797672353900405</c:v>
                </c:pt>
                <c:pt idx="285">
                  <c:v>1.03542135126098</c:v>
                </c:pt>
                <c:pt idx="286">
                  <c:v>-2</c:v>
                </c:pt>
                <c:pt idx="287">
                  <c:v>0.7095811458909290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0.36824032742197499</c:v>
                </c:pt>
              </c:numCache>
            </c:numRef>
          </c:xVal>
          <c:yVal>
            <c:numRef>
              <c:f>'pca-p1'!$O$2:$O$381</c:f>
              <c:numCache>
                <c:formatCode>General</c:formatCode>
                <c:ptCount val="380"/>
                <c:pt idx="0">
                  <c:v>-2</c:v>
                </c:pt>
                <c:pt idx="1">
                  <c:v>-8.1735756476476004E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3.06697637462564E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8.2068427311654202E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0.29383429913482201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0.14350424757916999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6.0425013015080901E-2</c:v>
                </c:pt>
                <c:pt idx="272">
                  <c:v>-0.22973495739769201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0.25493872404576801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0.23418550906062899</c:v>
                </c:pt>
                <c:pt idx="284">
                  <c:v>-2.8050066384567699E-2</c:v>
                </c:pt>
                <c:pt idx="285">
                  <c:v>-0.20493771162920801</c:v>
                </c:pt>
                <c:pt idx="286">
                  <c:v>-2</c:v>
                </c:pt>
                <c:pt idx="287">
                  <c:v>-0.11668769434713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9.9008548592512194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15B8-4022-9CCF-53DF25A73AF2}"/>
            </c:ext>
          </c:extLst>
        </c:ser>
        <c:ser>
          <c:idx val="5"/>
          <c:order val="4"/>
          <c:tx>
            <c:v>grupa 5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6"/>
                </a:solidFill>
              </a:ln>
              <a:effectLst/>
            </c:spPr>
          </c:marker>
          <c:xVal>
            <c:numRef>
              <c:f>'pca-p1'!$P$2:$P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3.94740167428193E-2</c:v>
                </c:pt>
                <c:pt idx="3">
                  <c:v>-3.2571131494300501E-4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4.5404011579879798E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0.15271193074235301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0.18458463710239201</c:v>
                </c:pt>
                <c:pt idx="32">
                  <c:v>-2</c:v>
                </c:pt>
                <c:pt idx="33">
                  <c:v>-6.5394878131068798E-2</c:v>
                </c:pt>
                <c:pt idx="34">
                  <c:v>-1.86359364896082E-2</c:v>
                </c:pt>
                <c:pt idx="35">
                  <c:v>-0.26068780745655101</c:v>
                </c:pt>
                <c:pt idx="36">
                  <c:v>-2</c:v>
                </c:pt>
                <c:pt idx="37">
                  <c:v>-2</c:v>
                </c:pt>
                <c:pt idx="38">
                  <c:v>-7.9238901750970907E-3</c:v>
                </c:pt>
                <c:pt idx="39">
                  <c:v>-2</c:v>
                </c:pt>
                <c:pt idx="40">
                  <c:v>-2</c:v>
                </c:pt>
                <c:pt idx="41">
                  <c:v>-5.7018370837953303E-2</c:v>
                </c:pt>
                <c:pt idx="42">
                  <c:v>-6.8469351333393297E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0.30014841565418698</c:v>
                </c:pt>
                <c:pt idx="47">
                  <c:v>-2</c:v>
                </c:pt>
                <c:pt idx="48">
                  <c:v>-4.7762048831098899E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0.14014270819423999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1.9466303356895601E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9.1247756982366104E-2</c:v>
                </c:pt>
                <c:pt idx="83">
                  <c:v>-6.2454741568474699E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0.17224822337477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0.24280307244517299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0.16794949514360499</c:v>
                </c:pt>
                <c:pt idx="234">
                  <c:v>-2</c:v>
                </c:pt>
                <c:pt idx="235">
                  <c:v>-0.12068220141007301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4.2751304068577599E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0.19618036751940901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3.7832796253980498E-2</c:v>
                </c:pt>
                <c:pt idx="311">
                  <c:v>-0.10298269074371399</c:v>
                </c:pt>
                <c:pt idx="312">
                  <c:v>-2</c:v>
                </c:pt>
                <c:pt idx="313">
                  <c:v>-0.15559136372075499</c:v>
                </c:pt>
                <c:pt idx="314">
                  <c:v>-2</c:v>
                </c:pt>
                <c:pt idx="315">
                  <c:v>-2</c:v>
                </c:pt>
                <c:pt idx="316">
                  <c:v>-4.5584100935929003E-2</c:v>
                </c:pt>
                <c:pt idx="317">
                  <c:v>-2</c:v>
                </c:pt>
                <c:pt idx="318">
                  <c:v>-2</c:v>
                </c:pt>
                <c:pt idx="319">
                  <c:v>-0.15138735053803201</c:v>
                </c:pt>
                <c:pt idx="320">
                  <c:v>-2</c:v>
                </c:pt>
                <c:pt idx="321">
                  <c:v>-9.4107955989955694E-2</c:v>
                </c:pt>
                <c:pt idx="322">
                  <c:v>-2</c:v>
                </c:pt>
                <c:pt idx="323">
                  <c:v>-2</c:v>
                </c:pt>
                <c:pt idx="324">
                  <c:v>-2.3982862980561199E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5.2728107072856002E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1.1460191697563699E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0.188730407658843</c:v>
                </c:pt>
                <c:pt idx="368">
                  <c:v>-2</c:v>
                </c:pt>
                <c:pt idx="369">
                  <c:v>-2</c:v>
                </c:pt>
                <c:pt idx="370">
                  <c:v>-9.5936289826133198E-2</c:v>
                </c:pt>
                <c:pt idx="371">
                  <c:v>-0.19170142398287801</c:v>
                </c:pt>
                <c:pt idx="372">
                  <c:v>-2</c:v>
                </c:pt>
                <c:pt idx="373">
                  <c:v>-2</c:v>
                </c:pt>
                <c:pt idx="374">
                  <c:v>-6.6486511183564802E-3</c:v>
                </c:pt>
                <c:pt idx="375">
                  <c:v>-2</c:v>
                </c:pt>
                <c:pt idx="376">
                  <c:v>-1.6412488795605199E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-p1'!$Q$2:$Q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0.22533934462564301</c:v>
                </c:pt>
                <c:pt idx="3">
                  <c:v>-0.4275231410876900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0.39002036616537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0.229153770963508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0.24420879864620301</c:v>
                </c:pt>
                <c:pt idx="32">
                  <c:v>-2</c:v>
                </c:pt>
                <c:pt idx="33">
                  <c:v>-0.69634963636513802</c:v>
                </c:pt>
                <c:pt idx="34">
                  <c:v>-0.49496776031166601</c:v>
                </c:pt>
                <c:pt idx="35">
                  <c:v>-0.74466636717712598</c:v>
                </c:pt>
                <c:pt idx="36">
                  <c:v>-2</c:v>
                </c:pt>
                <c:pt idx="37">
                  <c:v>-2</c:v>
                </c:pt>
                <c:pt idx="38">
                  <c:v>-0.36830468237888597</c:v>
                </c:pt>
                <c:pt idx="39">
                  <c:v>-2</c:v>
                </c:pt>
                <c:pt idx="40">
                  <c:v>-2</c:v>
                </c:pt>
                <c:pt idx="41">
                  <c:v>-0.44724798254109699</c:v>
                </c:pt>
                <c:pt idx="42">
                  <c:v>-0.3351012928391580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0.578163542437241</c:v>
                </c:pt>
                <c:pt idx="47">
                  <c:v>-2</c:v>
                </c:pt>
                <c:pt idx="48">
                  <c:v>-0.248022929730978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0.20720026639650399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0.213784056107786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0.233321473105878</c:v>
                </c:pt>
                <c:pt idx="83">
                  <c:v>-0.56510757480865603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0.22315752253704699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0.39177757560816101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0.35257558359781599</c:v>
                </c:pt>
                <c:pt idx="234">
                  <c:v>-2</c:v>
                </c:pt>
                <c:pt idx="235">
                  <c:v>-0.56180221511721196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0.37244861738006801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0.29096393255302899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0.67027390681913901</c:v>
                </c:pt>
                <c:pt idx="311">
                  <c:v>-0.44499678433126899</c:v>
                </c:pt>
                <c:pt idx="312">
                  <c:v>-2</c:v>
                </c:pt>
                <c:pt idx="313">
                  <c:v>-0.43430679954179802</c:v>
                </c:pt>
                <c:pt idx="314">
                  <c:v>-2</c:v>
                </c:pt>
                <c:pt idx="315">
                  <c:v>-2</c:v>
                </c:pt>
                <c:pt idx="316">
                  <c:v>-0.407205027066942</c:v>
                </c:pt>
                <c:pt idx="317">
                  <c:v>-2</c:v>
                </c:pt>
                <c:pt idx="318">
                  <c:v>-2</c:v>
                </c:pt>
                <c:pt idx="319">
                  <c:v>-0.38206381731730299</c:v>
                </c:pt>
                <c:pt idx="320">
                  <c:v>-2</c:v>
                </c:pt>
                <c:pt idx="321">
                  <c:v>-0.38918775944579098</c:v>
                </c:pt>
                <c:pt idx="322">
                  <c:v>-2</c:v>
                </c:pt>
                <c:pt idx="323">
                  <c:v>-2</c:v>
                </c:pt>
                <c:pt idx="324">
                  <c:v>-0.39282789800474699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0.3315508764459130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0.52065440720620404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0.393956193167531</c:v>
                </c:pt>
                <c:pt idx="368">
                  <c:v>-2</c:v>
                </c:pt>
                <c:pt idx="369">
                  <c:v>-2</c:v>
                </c:pt>
                <c:pt idx="370">
                  <c:v>-0.37319697327843299</c:v>
                </c:pt>
                <c:pt idx="371">
                  <c:v>-0.227100470031282</c:v>
                </c:pt>
                <c:pt idx="372">
                  <c:v>-2</c:v>
                </c:pt>
                <c:pt idx="373">
                  <c:v>-2</c:v>
                </c:pt>
                <c:pt idx="374">
                  <c:v>-0.53765911575536895</c:v>
                </c:pt>
                <c:pt idx="375">
                  <c:v>-2</c:v>
                </c:pt>
                <c:pt idx="376">
                  <c:v>-0.43824354084375899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15B8-4022-9CCF-53DF25A73AF2}"/>
            </c:ext>
          </c:extLst>
        </c:ser>
        <c:ser>
          <c:idx val="6"/>
          <c:order val="5"/>
          <c:tx>
            <c:v>grupa 6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xVal>
            <c:numRef>
              <c:f>'pca-p1'!$R$2:$R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0.27818035425828802</c:v>
                </c:pt>
                <c:pt idx="38">
                  <c:v>-2</c:v>
                </c:pt>
                <c:pt idx="39">
                  <c:v>-2</c:v>
                </c:pt>
                <c:pt idx="40">
                  <c:v>-0.32946803453280499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0.37558824867341001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0.25758974548279101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0.37167124239215599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0.36494265634629602</c:v>
                </c:pt>
                <c:pt idx="147">
                  <c:v>-0.331554582277789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0.437998125446251</c:v>
                </c:pt>
                <c:pt idx="156">
                  <c:v>-0.33161362715397902</c:v>
                </c:pt>
                <c:pt idx="157">
                  <c:v>-2</c:v>
                </c:pt>
                <c:pt idx="158">
                  <c:v>-0.20264442333729399</c:v>
                </c:pt>
                <c:pt idx="159">
                  <c:v>-2</c:v>
                </c:pt>
                <c:pt idx="160">
                  <c:v>-0.27803957981695299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0.212937308944075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0.22849276522628401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0.55521292195429806</c:v>
                </c:pt>
                <c:pt idx="228">
                  <c:v>-2</c:v>
                </c:pt>
                <c:pt idx="229">
                  <c:v>-0.231200587236677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0.41200126909162399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0.41497314612234398</c:v>
                </c:pt>
                <c:pt idx="331">
                  <c:v>-2</c:v>
                </c:pt>
                <c:pt idx="332">
                  <c:v>-0.27369939524407799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0.20931702637562599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-p1'!$S$2:$S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0.281243958575362</c:v>
                </c:pt>
                <c:pt idx="38">
                  <c:v>-2</c:v>
                </c:pt>
                <c:pt idx="39">
                  <c:v>-2</c:v>
                </c:pt>
                <c:pt idx="40">
                  <c:v>-0.214823181039869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0.2542954065949000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0.19782972495468501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9.8449577477713199E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8.2285029067692694E-2</c:v>
                </c:pt>
                <c:pt idx="147">
                  <c:v>-0.11573516047990701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7.4299680614350799E-2</c:v>
                </c:pt>
                <c:pt idx="156">
                  <c:v>-0.100729834760243</c:v>
                </c:pt>
                <c:pt idx="157">
                  <c:v>-2</c:v>
                </c:pt>
                <c:pt idx="158">
                  <c:v>-3.02932251683459E-2</c:v>
                </c:pt>
                <c:pt idx="159">
                  <c:v>-2</c:v>
                </c:pt>
                <c:pt idx="160">
                  <c:v>-8.8218716047348909E-3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6.6356902076545902E-3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0.10354517303720299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0.19758993315420001</c:v>
                </c:pt>
                <c:pt idx="228">
                  <c:v>-2</c:v>
                </c:pt>
                <c:pt idx="229">
                  <c:v>-0.15090282412018399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4.1095950272129103E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3.8252643625585198E-2</c:v>
                </c:pt>
                <c:pt idx="331">
                  <c:v>-2</c:v>
                </c:pt>
                <c:pt idx="332">
                  <c:v>-7.4541298544898105E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0.21244050962807701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15B8-4022-9CCF-53DF25A73AF2}"/>
            </c:ext>
          </c:extLst>
        </c:ser>
        <c:ser>
          <c:idx val="7"/>
          <c:order val="6"/>
          <c:tx>
            <c:v>grupa 7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xVal>
            <c:numRef>
              <c:f>'pca-p1'!$T$2:$T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0.21889834314339199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0.343279145518113</c:v>
                </c:pt>
                <c:pt idx="54">
                  <c:v>-0.209389810443428</c:v>
                </c:pt>
                <c:pt idx="55">
                  <c:v>-0.37689776910322298</c:v>
                </c:pt>
                <c:pt idx="56">
                  <c:v>-0.428632013740611</c:v>
                </c:pt>
                <c:pt idx="57">
                  <c:v>-0.39537236113198998</c:v>
                </c:pt>
                <c:pt idx="58">
                  <c:v>-0.421646243085323</c:v>
                </c:pt>
                <c:pt idx="59">
                  <c:v>-0.26962383956220298</c:v>
                </c:pt>
                <c:pt idx="60">
                  <c:v>-0.312459346971246</c:v>
                </c:pt>
                <c:pt idx="61">
                  <c:v>-0.48876894701731299</c:v>
                </c:pt>
                <c:pt idx="62">
                  <c:v>-0.33111649028394902</c:v>
                </c:pt>
                <c:pt idx="63">
                  <c:v>-0.31506907230417303</c:v>
                </c:pt>
                <c:pt idx="64">
                  <c:v>-2</c:v>
                </c:pt>
                <c:pt idx="65">
                  <c:v>-0.26659874000257</c:v>
                </c:pt>
                <c:pt idx="66">
                  <c:v>-0.24317629224043999</c:v>
                </c:pt>
                <c:pt idx="67">
                  <c:v>-0.316316734246608</c:v>
                </c:pt>
                <c:pt idx="68">
                  <c:v>-0.32444080019537103</c:v>
                </c:pt>
                <c:pt idx="69">
                  <c:v>-2</c:v>
                </c:pt>
                <c:pt idx="70">
                  <c:v>-0.35470650852375502</c:v>
                </c:pt>
                <c:pt idx="71">
                  <c:v>-2</c:v>
                </c:pt>
                <c:pt idx="72">
                  <c:v>-0.51965030150403901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0.35137857458652599</c:v>
                </c:pt>
                <c:pt idx="96">
                  <c:v>-0.27944683203083198</c:v>
                </c:pt>
                <c:pt idx="97">
                  <c:v>-2</c:v>
                </c:pt>
                <c:pt idx="98">
                  <c:v>-2</c:v>
                </c:pt>
                <c:pt idx="99">
                  <c:v>-0.33227125959119602</c:v>
                </c:pt>
                <c:pt idx="100">
                  <c:v>-0.39650051750193899</c:v>
                </c:pt>
                <c:pt idx="101">
                  <c:v>-0.41060788026263001</c:v>
                </c:pt>
                <c:pt idx="102">
                  <c:v>-0.24119408952423699</c:v>
                </c:pt>
                <c:pt idx="103">
                  <c:v>-0.38110541920368601</c:v>
                </c:pt>
                <c:pt idx="104">
                  <c:v>-0.23908814252660701</c:v>
                </c:pt>
                <c:pt idx="105">
                  <c:v>-0.59843859726867799</c:v>
                </c:pt>
                <c:pt idx="106">
                  <c:v>-2</c:v>
                </c:pt>
                <c:pt idx="107">
                  <c:v>-0.29933404373595701</c:v>
                </c:pt>
                <c:pt idx="108">
                  <c:v>-0.26817393988439497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0.35868574276992499</c:v>
                </c:pt>
                <c:pt idx="117">
                  <c:v>-2</c:v>
                </c:pt>
                <c:pt idx="118">
                  <c:v>-0.33256845492307802</c:v>
                </c:pt>
                <c:pt idx="119">
                  <c:v>-0.31572803612115902</c:v>
                </c:pt>
                <c:pt idx="120">
                  <c:v>-2</c:v>
                </c:pt>
                <c:pt idx="121">
                  <c:v>-0.508282701955593</c:v>
                </c:pt>
                <c:pt idx="122">
                  <c:v>-0.46559264617381702</c:v>
                </c:pt>
                <c:pt idx="123">
                  <c:v>-2</c:v>
                </c:pt>
                <c:pt idx="124">
                  <c:v>-0.415929309234151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0.336862534227021</c:v>
                </c:pt>
                <c:pt idx="129">
                  <c:v>-0.43911643305106501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0.431046094028122</c:v>
                </c:pt>
                <c:pt idx="138">
                  <c:v>-2</c:v>
                </c:pt>
                <c:pt idx="139">
                  <c:v>-0.327108091435172</c:v>
                </c:pt>
                <c:pt idx="140">
                  <c:v>-2</c:v>
                </c:pt>
                <c:pt idx="141">
                  <c:v>-2</c:v>
                </c:pt>
                <c:pt idx="142">
                  <c:v>-0.34103126077700002</c:v>
                </c:pt>
                <c:pt idx="143">
                  <c:v>-2</c:v>
                </c:pt>
                <c:pt idx="144">
                  <c:v>-2</c:v>
                </c:pt>
                <c:pt idx="145">
                  <c:v>-0.46673082270034599</c:v>
                </c:pt>
                <c:pt idx="146">
                  <c:v>-2</c:v>
                </c:pt>
                <c:pt idx="147">
                  <c:v>-2</c:v>
                </c:pt>
                <c:pt idx="148">
                  <c:v>-0.28378665801936798</c:v>
                </c:pt>
                <c:pt idx="149">
                  <c:v>-0.20334124598674999</c:v>
                </c:pt>
                <c:pt idx="150">
                  <c:v>-0.33712317636387401</c:v>
                </c:pt>
                <c:pt idx="151">
                  <c:v>-0.49065151709197202</c:v>
                </c:pt>
                <c:pt idx="152">
                  <c:v>-0.45196752904444898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0.40901630771833902</c:v>
                </c:pt>
                <c:pt idx="160">
                  <c:v>-2</c:v>
                </c:pt>
                <c:pt idx="161">
                  <c:v>-0.31167716721598598</c:v>
                </c:pt>
                <c:pt idx="162">
                  <c:v>-0.43222386011293801</c:v>
                </c:pt>
                <c:pt idx="163">
                  <c:v>-2</c:v>
                </c:pt>
                <c:pt idx="164">
                  <c:v>-2</c:v>
                </c:pt>
                <c:pt idx="165">
                  <c:v>-0.49546962102171199</c:v>
                </c:pt>
                <c:pt idx="166">
                  <c:v>-0.27662302222490198</c:v>
                </c:pt>
                <c:pt idx="167">
                  <c:v>-2</c:v>
                </c:pt>
                <c:pt idx="168">
                  <c:v>-0.406054585045793</c:v>
                </c:pt>
                <c:pt idx="169">
                  <c:v>-2</c:v>
                </c:pt>
                <c:pt idx="170">
                  <c:v>-2</c:v>
                </c:pt>
                <c:pt idx="171">
                  <c:v>-0.43267711908304402</c:v>
                </c:pt>
                <c:pt idx="172">
                  <c:v>-0.30983007658641598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0.31462843493581699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0.34696423258616699</c:v>
                </c:pt>
                <c:pt idx="204">
                  <c:v>-2</c:v>
                </c:pt>
                <c:pt idx="205">
                  <c:v>-0.27349895202239899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0.44253363468488299</c:v>
                </c:pt>
                <c:pt idx="210">
                  <c:v>-2</c:v>
                </c:pt>
                <c:pt idx="211">
                  <c:v>-0.35319792043148301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0.233381439624472</c:v>
                </c:pt>
                <c:pt idx="217">
                  <c:v>-0.22770203524384</c:v>
                </c:pt>
                <c:pt idx="218">
                  <c:v>-0.272988464731029</c:v>
                </c:pt>
                <c:pt idx="219">
                  <c:v>-2</c:v>
                </c:pt>
                <c:pt idx="220">
                  <c:v>-2</c:v>
                </c:pt>
                <c:pt idx="221">
                  <c:v>-0.37962400830235099</c:v>
                </c:pt>
                <c:pt idx="222">
                  <c:v>-0.51826950059687904</c:v>
                </c:pt>
                <c:pt idx="223">
                  <c:v>-0.38550187177336998</c:v>
                </c:pt>
                <c:pt idx="224">
                  <c:v>-0.48731555333170701</c:v>
                </c:pt>
                <c:pt idx="225">
                  <c:v>-0.38386699092678001</c:v>
                </c:pt>
                <c:pt idx="226">
                  <c:v>-0.353122626483034</c:v>
                </c:pt>
                <c:pt idx="227">
                  <c:v>-2</c:v>
                </c:pt>
                <c:pt idx="228">
                  <c:v>-0.442789101372079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0.34718980869372001</c:v>
                </c:pt>
                <c:pt idx="291">
                  <c:v>-0.39607275593978403</c:v>
                </c:pt>
                <c:pt idx="292">
                  <c:v>-0.24801271540119499</c:v>
                </c:pt>
                <c:pt idx="293">
                  <c:v>-0.20101006094621901</c:v>
                </c:pt>
                <c:pt idx="294">
                  <c:v>-2</c:v>
                </c:pt>
                <c:pt idx="295">
                  <c:v>-2</c:v>
                </c:pt>
                <c:pt idx="296">
                  <c:v>-0.37147772141844199</c:v>
                </c:pt>
                <c:pt idx="297">
                  <c:v>-0.23395367373065301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0.32229812931222701</c:v>
                </c:pt>
                <c:pt idx="334">
                  <c:v>-2</c:v>
                </c:pt>
                <c:pt idx="335">
                  <c:v>-2</c:v>
                </c:pt>
                <c:pt idx="336">
                  <c:v>-0.22869288407049701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0.238851101904168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-p1'!$U$2:$U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0.11840537645438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0.144221313591821</c:v>
                </c:pt>
                <c:pt idx="54">
                  <c:v>0.12787335014235501</c:v>
                </c:pt>
                <c:pt idx="55">
                  <c:v>4.8585382627668101E-2</c:v>
                </c:pt>
                <c:pt idx="56">
                  <c:v>6.4160903179107706E-2</c:v>
                </c:pt>
                <c:pt idx="57">
                  <c:v>0.178817004236242</c:v>
                </c:pt>
                <c:pt idx="58">
                  <c:v>0.107675266701032</c:v>
                </c:pt>
                <c:pt idx="59">
                  <c:v>0.139988689630929</c:v>
                </c:pt>
                <c:pt idx="60">
                  <c:v>0.13317860387990099</c:v>
                </c:pt>
                <c:pt idx="61">
                  <c:v>0.20944020715793901</c:v>
                </c:pt>
                <c:pt idx="62">
                  <c:v>6.4028323282758495E-2</c:v>
                </c:pt>
                <c:pt idx="63">
                  <c:v>0.130352434426243</c:v>
                </c:pt>
                <c:pt idx="64">
                  <c:v>-2</c:v>
                </c:pt>
                <c:pt idx="65">
                  <c:v>0.107215915856118</c:v>
                </c:pt>
                <c:pt idx="66">
                  <c:v>0.12726513693403901</c:v>
                </c:pt>
                <c:pt idx="67">
                  <c:v>0.138950419911998</c:v>
                </c:pt>
                <c:pt idx="68">
                  <c:v>0.16527884250716901</c:v>
                </c:pt>
                <c:pt idx="69">
                  <c:v>-2</c:v>
                </c:pt>
                <c:pt idx="70">
                  <c:v>0.152126017244235</c:v>
                </c:pt>
                <c:pt idx="71">
                  <c:v>-2</c:v>
                </c:pt>
                <c:pt idx="72">
                  <c:v>0.31044722629941301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5.50659307329215E-2</c:v>
                </c:pt>
                <c:pt idx="96">
                  <c:v>0.16134882762286301</c:v>
                </c:pt>
                <c:pt idx="97">
                  <c:v>-2</c:v>
                </c:pt>
                <c:pt idx="98">
                  <c:v>-2</c:v>
                </c:pt>
                <c:pt idx="99">
                  <c:v>0.119455617907215</c:v>
                </c:pt>
                <c:pt idx="100">
                  <c:v>8.2528665611260099E-2</c:v>
                </c:pt>
                <c:pt idx="101">
                  <c:v>1.0107420126912001E-2</c:v>
                </c:pt>
                <c:pt idx="102">
                  <c:v>0.16937697647088201</c:v>
                </c:pt>
                <c:pt idx="103">
                  <c:v>5.9173653478492599E-2</c:v>
                </c:pt>
                <c:pt idx="104">
                  <c:v>0.11544227012759301</c:v>
                </c:pt>
                <c:pt idx="105">
                  <c:v>4.0091914355192097E-2</c:v>
                </c:pt>
                <c:pt idx="106">
                  <c:v>-2</c:v>
                </c:pt>
                <c:pt idx="107">
                  <c:v>8.2317872142111295E-2</c:v>
                </c:pt>
                <c:pt idx="108">
                  <c:v>1.80410187570385E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0.23564496664715201</c:v>
                </c:pt>
                <c:pt idx="117">
                  <c:v>-2</c:v>
                </c:pt>
                <c:pt idx="118">
                  <c:v>0.12302885365017099</c:v>
                </c:pt>
                <c:pt idx="119">
                  <c:v>0.234125268234361</c:v>
                </c:pt>
                <c:pt idx="120">
                  <c:v>-2</c:v>
                </c:pt>
                <c:pt idx="121">
                  <c:v>0.18946469590332801</c:v>
                </c:pt>
                <c:pt idx="122">
                  <c:v>7.7729063484459598E-2</c:v>
                </c:pt>
                <c:pt idx="123">
                  <c:v>-2</c:v>
                </c:pt>
                <c:pt idx="124">
                  <c:v>0.269267502742843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5.8229654947503498E-2</c:v>
                </c:pt>
                <c:pt idx="129">
                  <c:v>0.22066281972243301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0.16467355356306701</c:v>
                </c:pt>
                <c:pt idx="138">
                  <c:v>-2</c:v>
                </c:pt>
                <c:pt idx="139">
                  <c:v>0.14027910545052499</c:v>
                </c:pt>
                <c:pt idx="140">
                  <c:v>-2</c:v>
                </c:pt>
                <c:pt idx="141">
                  <c:v>-2</c:v>
                </c:pt>
                <c:pt idx="142">
                  <c:v>0.20371261148116199</c:v>
                </c:pt>
                <c:pt idx="143">
                  <c:v>-2</c:v>
                </c:pt>
                <c:pt idx="144">
                  <c:v>-2</c:v>
                </c:pt>
                <c:pt idx="145">
                  <c:v>0.249709849328732</c:v>
                </c:pt>
                <c:pt idx="146">
                  <c:v>-2</c:v>
                </c:pt>
                <c:pt idx="147">
                  <c:v>-2</c:v>
                </c:pt>
                <c:pt idx="148">
                  <c:v>0.19737681498957799</c:v>
                </c:pt>
                <c:pt idx="149">
                  <c:v>6.6809110900266297E-2</c:v>
                </c:pt>
                <c:pt idx="150">
                  <c:v>8.79565051894943E-2</c:v>
                </c:pt>
                <c:pt idx="151">
                  <c:v>0.119234939899757</c:v>
                </c:pt>
                <c:pt idx="152">
                  <c:v>7.4128107725515299E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0.15408162253736801</c:v>
                </c:pt>
                <c:pt idx="160">
                  <c:v>-2</c:v>
                </c:pt>
                <c:pt idx="161">
                  <c:v>0.17839888637495399</c:v>
                </c:pt>
                <c:pt idx="162">
                  <c:v>0.177641671062165</c:v>
                </c:pt>
                <c:pt idx="163">
                  <c:v>-2</c:v>
                </c:pt>
                <c:pt idx="164">
                  <c:v>-2</c:v>
                </c:pt>
                <c:pt idx="165">
                  <c:v>0.19897192799959801</c:v>
                </c:pt>
                <c:pt idx="166">
                  <c:v>0.150312003331523</c:v>
                </c:pt>
                <c:pt idx="167">
                  <c:v>-2</c:v>
                </c:pt>
                <c:pt idx="168">
                  <c:v>0.162626556262633</c:v>
                </c:pt>
                <c:pt idx="169">
                  <c:v>-2</c:v>
                </c:pt>
                <c:pt idx="170">
                  <c:v>-2</c:v>
                </c:pt>
                <c:pt idx="171">
                  <c:v>0.24123816555939601</c:v>
                </c:pt>
                <c:pt idx="172">
                  <c:v>3.2292187193316703E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5.7857386168898801E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2.3849109648732401E-2</c:v>
                </c:pt>
                <c:pt idx="204">
                  <c:v>-2</c:v>
                </c:pt>
                <c:pt idx="205">
                  <c:v>0.20554830980274599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0.22857155331256901</c:v>
                </c:pt>
                <c:pt idx="210">
                  <c:v>-2</c:v>
                </c:pt>
                <c:pt idx="211">
                  <c:v>1.26549719192687E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0.114059290614203</c:v>
                </c:pt>
                <c:pt idx="217">
                  <c:v>0.13619861774618899</c:v>
                </c:pt>
                <c:pt idx="218">
                  <c:v>0.154241795748882</c:v>
                </c:pt>
                <c:pt idx="219">
                  <c:v>-2</c:v>
                </c:pt>
                <c:pt idx="220">
                  <c:v>-2</c:v>
                </c:pt>
                <c:pt idx="221">
                  <c:v>2.9551211767566699E-2</c:v>
                </c:pt>
                <c:pt idx="222">
                  <c:v>0.120062204236057</c:v>
                </c:pt>
                <c:pt idx="223">
                  <c:v>5.4867216905936898E-2</c:v>
                </c:pt>
                <c:pt idx="224">
                  <c:v>0.100873005686204</c:v>
                </c:pt>
                <c:pt idx="225">
                  <c:v>0.17247571220799299</c:v>
                </c:pt>
                <c:pt idx="226">
                  <c:v>0.106289783027105</c:v>
                </c:pt>
                <c:pt idx="227">
                  <c:v>-2</c:v>
                </c:pt>
                <c:pt idx="228">
                  <c:v>5.6447726301121999E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0.14107359375972001</c:v>
                </c:pt>
                <c:pt idx="291">
                  <c:v>0.180370214205263</c:v>
                </c:pt>
                <c:pt idx="292">
                  <c:v>0.18406725734576801</c:v>
                </c:pt>
                <c:pt idx="293">
                  <c:v>0.13962795540276099</c:v>
                </c:pt>
                <c:pt idx="294">
                  <c:v>-2</c:v>
                </c:pt>
                <c:pt idx="295">
                  <c:v>-2</c:v>
                </c:pt>
                <c:pt idx="296">
                  <c:v>2.56482880111812E-2</c:v>
                </c:pt>
                <c:pt idx="297">
                  <c:v>0.144878091900939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0.110342592545821</c:v>
                </c:pt>
                <c:pt idx="334">
                  <c:v>-2</c:v>
                </c:pt>
                <c:pt idx="335">
                  <c:v>-2</c:v>
                </c:pt>
                <c:pt idx="336">
                  <c:v>0.108063096408457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1.26158772665613E-3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15B8-4022-9CCF-53DF25A73AF2}"/>
            </c:ext>
          </c:extLst>
        </c:ser>
        <c:ser>
          <c:idx val="8"/>
          <c:order val="7"/>
          <c:tx>
            <c:v>grupa 8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xVal>
            <c:numRef>
              <c:f>'pca-p1'!$V$2:$V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4.5833266226723901E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0.208040967780215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0.17492484742665701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0.20460087931579099</c:v>
                </c:pt>
                <c:pt idx="121">
                  <c:v>-2</c:v>
                </c:pt>
                <c:pt idx="122">
                  <c:v>-2</c:v>
                </c:pt>
                <c:pt idx="123">
                  <c:v>-0.219064516398008</c:v>
                </c:pt>
                <c:pt idx="124">
                  <c:v>-2</c:v>
                </c:pt>
                <c:pt idx="125">
                  <c:v>-0.26001344410601301</c:v>
                </c:pt>
                <c:pt idx="126">
                  <c:v>-7.4553211495086896E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0.299325130665343</c:v>
                </c:pt>
                <c:pt idx="131">
                  <c:v>-0.250508265960521</c:v>
                </c:pt>
                <c:pt idx="132">
                  <c:v>-0.173220301177029</c:v>
                </c:pt>
                <c:pt idx="133">
                  <c:v>-0.22400668895759099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0.18924917623281101</c:v>
                </c:pt>
                <c:pt idx="142">
                  <c:v>-2</c:v>
                </c:pt>
                <c:pt idx="143">
                  <c:v>-0.194169484525686</c:v>
                </c:pt>
                <c:pt idx="144">
                  <c:v>-0.30594888977044499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0.17208816990869799</c:v>
                </c:pt>
                <c:pt idx="154">
                  <c:v>-6.6875734320701305E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0.27429921865498802</c:v>
                </c:pt>
                <c:pt idx="168">
                  <c:v>-2</c:v>
                </c:pt>
                <c:pt idx="169">
                  <c:v>-0.16942997496336301</c:v>
                </c:pt>
                <c:pt idx="170">
                  <c:v>-0.20304084145569601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0.31912784921895299</c:v>
                </c:pt>
                <c:pt idx="193">
                  <c:v>-2</c:v>
                </c:pt>
                <c:pt idx="194">
                  <c:v>-2</c:v>
                </c:pt>
                <c:pt idx="195">
                  <c:v>-8.1084504868571494E-2</c:v>
                </c:pt>
                <c:pt idx="196">
                  <c:v>-2</c:v>
                </c:pt>
                <c:pt idx="197">
                  <c:v>-0.20412181922837999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0.19299941643629201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0.170545239260466</c:v>
                </c:pt>
                <c:pt idx="255">
                  <c:v>-2</c:v>
                </c:pt>
                <c:pt idx="256">
                  <c:v>-0.198287551055738</c:v>
                </c:pt>
                <c:pt idx="257">
                  <c:v>-2</c:v>
                </c:pt>
                <c:pt idx="258">
                  <c:v>-0.25425657288433101</c:v>
                </c:pt>
                <c:pt idx="259">
                  <c:v>-2</c:v>
                </c:pt>
                <c:pt idx="260">
                  <c:v>-2</c:v>
                </c:pt>
                <c:pt idx="261">
                  <c:v>-0.175192045471461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8.0776574824463307E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3.8787837485563102E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-p1'!$W$2:$W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0.22340362303615799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0.259375423023888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0.22279992581372701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0.29565094760066202</c:v>
                </c:pt>
                <c:pt idx="121">
                  <c:v>-2</c:v>
                </c:pt>
                <c:pt idx="122">
                  <c:v>-2</c:v>
                </c:pt>
                <c:pt idx="123">
                  <c:v>0.41805281273270001</c:v>
                </c:pt>
                <c:pt idx="124">
                  <c:v>-2</c:v>
                </c:pt>
                <c:pt idx="125">
                  <c:v>0.35404203056705102</c:v>
                </c:pt>
                <c:pt idx="126">
                  <c:v>0.23406254493089901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0.30146414057618798</c:v>
                </c:pt>
                <c:pt idx="131">
                  <c:v>0.38759633937259902</c:v>
                </c:pt>
                <c:pt idx="132">
                  <c:v>0.28151261155502</c:v>
                </c:pt>
                <c:pt idx="133">
                  <c:v>0.38625095703302997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0.31572000127886801</c:v>
                </c:pt>
                <c:pt idx="142">
                  <c:v>-2</c:v>
                </c:pt>
                <c:pt idx="143">
                  <c:v>0.21235481553952201</c:v>
                </c:pt>
                <c:pt idx="144">
                  <c:v>0.3953090249223020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0.30480127787921701</c:v>
                </c:pt>
                <c:pt idx="154">
                  <c:v>0.20925694489431099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0.45130703527321703</c:v>
                </c:pt>
                <c:pt idx="168">
                  <c:v>-2</c:v>
                </c:pt>
                <c:pt idx="169">
                  <c:v>0.38729286422792097</c:v>
                </c:pt>
                <c:pt idx="170">
                  <c:v>0.215727698057159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0.55942758026296402</c:v>
                </c:pt>
                <c:pt idx="193">
                  <c:v>-2</c:v>
                </c:pt>
                <c:pt idx="194">
                  <c:v>-2</c:v>
                </c:pt>
                <c:pt idx="195">
                  <c:v>0.34944176059769699</c:v>
                </c:pt>
                <c:pt idx="196">
                  <c:v>-2</c:v>
                </c:pt>
                <c:pt idx="197">
                  <c:v>0.33997937077386697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0.23135135308556301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0.31764837812712399</c:v>
                </c:pt>
                <c:pt idx="255">
                  <c:v>-2</c:v>
                </c:pt>
                <c:pt idx="256">
                  <c:v>0.23102402283381801</c:v>
                </c:pt>
                <c:pt idx="257">
                  <c:v>-2</c:v>
                </c:pt>
                <c:pt idx="258">
                  <c:v>0.27736304504341802</c:v>
                </c:pt>
                <c:pt idx="259">
                  <c:v>-2</c:v>
                </c:pt>
                <c:pt idx="260">
                  <c:v>-2</c:v>
                </c:pt>
                <c:pt idx="261">
                  <c:v>0.2423900975575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0.38708224470897001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0.28377135005472998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15B8-4022-9CCF-53DF25A73AF2}"/>
            </c:ext>
          </c:extLst>
        </c:ser>
        <c:ser>
          <c:idx val="0"/>
          <c:order val="8"/>
          <c:tx>
            <c:v>nieistotne</c:v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noFill/>
              <a:ln w="9525">
                <a:solidFill>
                  <a:schemeClr val="bg1">
                    <a:lumMod val="75000"/>
                  </a:schemeClr>
                </a:solidFill>
              </a:ln>
              <a:effectLst/>
            </c:spPr>
          </c:marker>
          <c:xVal>
            <c:numRef>
              <c:f>'pca-p1'!$F$2:$F$381</c:f>
              <c:numCache>
                <c:formatCode>General</c:formatCode>
                <c:ptCount val="380"/>
                <c:pt idx="0">
                  <c:v>6.0848985361915499E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0.14794383339636999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3.24172292172729E-2</c:v>
                </c:pt>
                <c:pt idx="12">
                  <c:v>-2</c:v>
                </c:pt>
                <c:pt idx="13">
                  <c:v>0.19681265045398499</c:v>
                </c:pt>
                <c:pt idx="14">
                  <c:v>9.6890258465027797E-3</c:v>
                </c:pt>
                <c:pt idx="15">
                  <c:v>5.2746508007538703E-2</c:v>
                </c:pt>
                <c:pt idx="16">
                  <c:v>-0.19874237511333101</c:v>
                </c:pt>
                <c:pt idx="17">
                  <c:v>-0.18166464691398801</c:v>
                </c:pt>
                <c:pt idx="18">
                  <c:v>0.17787807947939199</c:v>
                </c:pt>
                <c:pt idx="19">
                  <c:v>-2</c:v>
                </c:pt>
                <c:pt idx="20">
                  <c:v>-2</c:v>
                </c:pt>
                <c:pt idx="21">
                  <c:v>0.13392545965928301</c:v>
                </c:pt>
                <c:pt idx="22">
                  <c:v>-0.156957872340935</c:v>
                </c:pt>
                <c:pt idx="23">
                  <c:v>4.1224201480825597E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0.16262048381036401</c:v>
                </c:pt>
                <c:pt idx="31">
                  <c:v>-2</c:v>
                </c:pt>
                <c:pt idx="32">
                  <c:v>-8.2746594442759197E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0.16351881089641301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0.193881440873337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0.15949414086692301</c:v>
                </c:pt>
                <c:pt idx="78">
                  <c:v>-2</c:v>
                </c:pt>
                <c:pt idx="79">
                  <c:v>-2</c:v>
                </c:pt>
                <c:pt idx="80">
                  <c:v>7.67584154386977E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4.5109002251505798E-2</c:v>
                </c:pt>
                <c:pt idx="85">
                  <c:v>-0.107732209401012</c:v>
                </c:pt>
                <c:pt idx="86">
                  <c:v>-2</c:v>
                </c:pt>
                <c:pt idx="87">
                  <c:v>-8.0473174586635499E-2</c:v>
                </c:pt>
                <c:pt idx="88">
                  <c:v>-3.1009076467831201E-2</c:v>
                </c:pt>
                <c:pt idx="89">
                  <c:v>-2</c:v>
                </c:pt>
                <c:pt idx="90">
                  <c:v>-2</c:v>
                </c:pt>
                <c:pt idx="91">
                  <c:v>0.145802204895493</c:v>
                </c:pt>
                <c:pt idx="92">
                  <c:v>-2</c:v>
                </c:pt>
                <c:pt idx="93">
                  <c:v>-0.15869568791902899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0.16683883905521399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1.9193717918045E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0.19230538215040499</c:v>
                </c:pt>
                <c:pt idx="111">
                  <c:v>-0.19488671972086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0.13831453613458899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0.122244783351311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0.11009263211433599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3.03126397238099E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6.1247405876961702E-2</c:v>
                </c:pt>
                <c:pt idx="181">
                  <c:v>-2</c:v>
                </c:pt>
                <c:pt idx="182">
                  <c:v>1.5753227911820301E-2</c:v>
                </c:pt>
                <c:pt idx="183">
                  <c:v>0.15363160517597699</c:v>
                </c:pt>
                <c:pt idx="184">
                  <c:v>-1.9649395539101601E-3</c:v>
                </c:pt>
                <c:pt idx="185">
                  <c:v>8.0216224558510602E-2</c:v>
                </c:pt>
                <c:pt idx="186">
                  <c:v>-0.15858999848908401</c:v>
                </c:pt>
                <c:pt idx="187">
                  <c:v>4.8307767553861999E-2</c:v>
                </c:pt>
                <c:pt idx="188">
                  <c:v>-2</c:v>
                </c:pt>
                <c:pt idx="189">
                  <c:v>7.5349051874140399E-2</c:v>
                </c:pt>
                <c:pt idx="190">
                  <c:v>-2</c:v>
                </c:pt>
                <c:pt idx="191">
                  <c:v>-0.15296659040014501</c:v>
                </c:pt>
                <c:pt idx="192">
                  <c:v>-2</c:v>
                </c:pt>
                <c:pt idx="193">
                  <c:v>-4.8840233597890401E-2</c:v>
                </c:pt>
                <c:pt idx="194">
                  <c:v>-9.9528157314831001E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1.97599978995565E-2</c:v>
                </c:pt>
                <c:pt idx="199">
                  <c:v>-9.8914836190927405E-2</c:v>
                </c:pt>
                <c:pt idx="200">
                  <c:v>-6.6212862679603898E-2</c:v>
                </c:pt>
                <c:pt idx="201">
                  <c:v>1.30528245533956E-2</c:v>
                </c:pt>
                <c:pt idx="202">
                  <c:v>-7.9083498214723297E-2</c:v>
                </c:pt>
                <c:pt idx="203">
                  <c:v>-2</c:v>
                </c:pt>
                <c:pt idx="204">
                  <c:v>-0.108484647846063</c:v>
                </c:pt>
                <c:pt idx="205">
                  <c:v>-2</c:v>
                </c:pt>
                <c:pt idx="206">
                  <c:v>-2</c:v>
                </c:pt>
                <c:pt idx="207">
                  <c:v>-4.20810298166878E-2</c:v>
                </c:pt>
                <c:pt idx="208">
                  <c:v>-2</c:v>
                </c:pt>
                <c:pt idx="209">
                  <c:v>-2</c:v>
                </c:pt>
                <c:pt idx="210">
                  <c:v>0.17302285614026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0.155770848401724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0.169523956033138</c:v>
                </c:pt>
                <c:pt idx="235">
                  <c:v>-2</c:v>
                </c:pt>
                <c:pt idx="236">
                  <c:v>9.2176636536537696E-2</c:v>
                </c:pt>
                <c:pt idx="237">
                  <c:v>-0.13934029787241201</c:v>
                </c:pt>
                <c:pt idx="238">
                  <c:v>-0.113341525668649</c:v>
                </c:pt>
                <c:pt idx="239">
                  <c:v>-2</c:v>
                </c:pt>
                <c:pt idx="240">
                  <c:v>0.143985396027178</c:v>
                </c:pt>
                <c:pt idx="241">
                  <c:v>-2</c:v>
                </c:pt>
                <c:pt idx="242">
                  <c:v>0.13186902115071</c:v>
                </c:pt>
                <c:pt idx="243">
                  <c:v>6.3035958817453899E-2</c:v>
                </c:pt>
                <c:pt idx="244">
                  <c:v>8.1264753975419698E-2</c:v>
                </c:pt>
                <c:pt idx="245">
                  <c:v>-0.131197932005539</c:v>
                </c:pt>
                <c:pt idx="246">
                  <c:v>-2</c:v>
                </c:pt>
                <c:pt idx="247">
                  <c:v>-0.12810462834101299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6.0480768894546302E-2</c:v>
                </c:pt>
                <c:pt idx="256">
                  <c:v>-2</c:v>
                </c:pt>
                <c:pt idx="257">
                  <c:v>0.19023276745356199</c:v>
                </c:pt>
                <c:pt idx="258">
                  <c:v>-2</c:v>
                </c:pt>
                <c:pt idx="259">
                  <c:v>2.5340737307366899E-3</c:v>
                </c:pt>
                <c:pt idx="260">
                  <c:v>0.18912440811350301</c:v>
                </c:pt>
                <c:pt idx="261">
                  <c:v>-2</c:v>
                </c:pt>
                <c:pt idx="262">
                  <c:v>-8.4360258298432397E-2</c:v>
                </c:pt>
                <c:pt idx="263">
                  <c:v>3.1979548656128801E-2</c:v>
                </c:pt>
                <c:pt idx="264">
                  <c:v>-0.159868852018199</c:v>
                </c:pt>
                <c:pt idx="265">
                  <c:v>6.8787919423113006E-2</c:v>
                </c:pt>
                <c:pt idx="266">
                  <c:v>-2</c:v>
                </c:pt>
                <c:pt idx="267">
                  <c:v>-2</c:v>
                </c:pt>
                <c:pt idx="268">
                  <c:v>-0.11201649320854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0.19143571781194399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5.18694002214607E-2</c:v>
                </c:pt>
                <c:pt idx="299">
                  <c:v>6.3336320429155393E-2</c:v>
                </c:pt>
                <c:pt idx="300">
                  <c:v>-0.182716958656988</c:v>
                </c:pt>
                <c:pt idx="301">
                  <c:v>-0.15109466719357301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4.2110641574971998E-2</c:v>
                </c:pt>
                <c:pt idx="306">
                  <c:v>-2</c:v>
                </c:pt>
                <c:pt idx="307">
                  <c:v>5.0421770629308298E-2</c:v>
                </c:pt>
                <c:pt idx="308">
                  <c:v>-2</c:v>
                </c:pt>
                <c:pt idx="309">
                  <c:v>-6.3927595330204798E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0.177933102306507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1.27420434535845E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7.0414906637219499E-2</c:v>
                </c:pt>
                <c:pt idx="326">
                  <c:v>-2</c:v>
                </c:pt>
                <c:pt idx="327">
                  <c:v>-2</c:v>
                </c:pt>
                <c:pt idx="328">
                  <c:v>-0.13151215403965399</c:v>
                </c:pt>
                <c:pt idx="329">
                  <c:v>3.4751300176748899E-2</c:v>
                </c:pt>
                <c:pt idx="330">
                  <c:v>-2</c:v>
                </c:pt>
                <c:pt idx="331">
                  <c:v>-1.45809966816177E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2.2134414713469899E-2</c:v>
                </c:pt>
                <c:pt idx="336">
                  <c:v>-2</c:v>
                </c:pt>
                <c:pt idx="337">
                  <c:v>-2</c:v>
                </c:pt>
                <c:pt idx="338">
                  <c:v>-0.188105389307721</c:v>
                </c:pt>
                <c:pt idx="339">
                  <c:v>-9.4384368938934898E-2</c:v>
                </c:pt>
                <c:pt idx="340">
                  <c:v>0.118227467399154</c:v>
                </c:pt>
                <c:pt idx="341">
                  <c:v>-2</c:v>
                </c:pt>
                <c:pt idx="342">
                  <c:v>-2</c:v>
                </c:pt>
                <c:pt idx="343">
                  <c:v>-0.14951782534199601</c:v>
                </c:pt>
                <c:pt idx="344">
                  <c:v>-2</c:v>
                </c:pt>
                <c:pt idx="345">
                  <c:v>4.541385825943E-3</c:v>
                </c:pt>
                <c:pt idx="346">
                  <c:v>-0.141453383528339</c:v>
                </c:pt>
                <c:pt idx="347">
                  <c:v>-0.102400280017461</c:v>
                </c:pt>
                <c:pt idx="348">
                  <c:v>-0.11610444882340901</c:v>
                </c:pt>
                <c:pt idx="349">
                  <c:v>-2</c:v>
                </c:pt>
                <c:pt idx="350">
                  <c:v>-0.182550436852565</c:v>
                </c:pt>
                <c:pt idx="351">
                  <c:v>3.4501581103547903E-2</c:v>
                </c:pt>
                <c:pt idx="352">
                  <c:v>3.8687459200787602E-2</c:v>
                </c:pt>
                <c:pt idx="353">
                  <c:v>-8.3070988461127898E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5.95061447337717E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3.94785563802472E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-p1'!$G$2:$G$381</c:f>
              <c:numCache>
                <c:formatCode>General</c:formatCode>
                <c:ptCount val="380"/>
                <c:pt idx="0">
                  <c:v>1.4872671921971401E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.9704305540316899E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1.9460475908746298E-2</c:v>
                </c:pt>
                <c:pt idx="12">
                  <c:v>-2</c:v>
                </c:pt>
                <c:pt idx="13">
                  <c:v>3.0240127613052101E-2</c:v>
                </c:pt>
                <c:pt idx="14">
                  <c:v>4.1618310078384204E-3</c:v>
                </c:pt>
                <c:pt idx="15">
                  <c:v>-0.158163433784093</c:v>
                </c:pt>
                <c:pt idx="16">
                  <c:v>5.1508308582399701E-2</c:v>
                </c:pt>
                <c:pt idx="17">
                  <c:v>-0.161159119186669</c:v>
                </c:pt>
                <c:pt idx="18">
                  <c:v>-8.0146556349667206E-2</c:v>
                </c:pt>
                <c:pt idx="19">
                  <c:v>-2</c:v>
                </c:pt>
                <c:pt idx="20">
                  <c:v>-2</c:v>
                </c:pt>
                <c:pt idx="21">
                  <c:v>-9.25841533168488E-2</c:v>
                </c:pt>
                <c:pt idx="22">
                  <c:v>4.4465305285634402E-2</c:v>
                </c:pt>
                <c:pt idx="23">
                  <c:v>-0.11871093590151099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0.17855489399110899</c:v>
                </c:pt>
                <c:pt idx="31">
                  <c:v>-2</c:v>
                </c:pt>
                <c:pt idx="32">
                  <c:v>-0.13398257300522901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0.15937739072541399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4.0128942884179002E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8.8484107916584495E-2</c:v>
                </c:pt>
                <c:pt idx="78">
                  <c:v>-2</c:v>
                </c:pt>
                <c:pt idx="79">
                  <c:v>-2</c:v>
                </c:pt>
                <c:pt idx="80">
                  <c:v>-8.9479208257646103E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0.104358659599953</c:v>
                </c:pt>
                <c:pt idx="85">
                  <c:v>-0.132487739718335</c:v>
                </c:pt>
                <c:pt idx="86">
                  <c:v>-2</c:v>
                </c:pt>
                <c:pt idx="87">
                  <c:v>-0.118684443491565</c:v>
                </c:pt>
                <c:pt idx="88">
                  <c:v>-9.7363697486435793E-2</c:v>
                </c:pt>
                <c:pt idx="89">
                  <c:v>-2</c:v>
                </c:pt>
                <c:pt idx="90">
                  <c:v>-2</c:v>
                </c:pt>
                <c:pt idx="91">
                  <c:v>0.123984523543701</c:v>
                </c:pt>
                <c:pt idx="92">
                  <c:v>-2</c:v>
                </c:pt>
                <c:pt idx="93">
                  <c:v>3.6097196298329498E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0.13477189693587299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.77897475365315E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0.121788150285657</c:v>
                </c:pt>
                <c:pt idx="111">
                  <c:v>0.158078527648848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0.13409514597885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0.139904955226967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6.38769469538428E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6.3590924866762197E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1.74513562682755E-2</c:v>
                </c:pt>
                <c:pt idx="181">
                  <c:v>-2</c:v>
                </c:pt>
                <c:pt idx="182">
                  <c:v>4.6183859604715098E-2</c:v>
                </c:pt>
                <c:pt idx="183">
                  <c:v>3.4266151449016499E-2</c:v>
                </c:pt>
                <c:pt idx="184">
                  <c:v>9.6298391869593006E-2</c:v>
                </c:pt>
                <c:pt idx="185">
                  <c:v>1.75867265081056E-2</c:v>
                </c:pt>
                <c:pt idx="186">
                  <c:v>7.8304858997162496E-2</c:v>
                </c:pt>
                <c:pt idx="187">
                  <c:v>4.8695979120530301E-2</c:v>
                </c:pt>
                <c:pt idx="188">
                  <c:v>-2</c:v>
                </c:pt>
                <c:pt idx="189">
                  <c:v>5.2341088367569098E-3</c:v>
                </c:pt>
                <c:pt idx="190">
                  <c:v>-2</c:v>
                </c:pt>
                <c:pt idx="191">
                  <c:v>-8.0008177774195097E-2</c:v>
                </c:pt>
                <c:pt idx="192">
                  <c:v>-2</c:v>
                </c:pt>
                <c:pt idx="193">
                  <c:v>0.119109006576509</c:v>
                </c:pt>
                <c:pt idx="194">
                  <c:v>-0.141722273338378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0.17200090169283699</c:v>
                </c:pt>
                <c:pt idx="199">
                  <c:v>-0.13616783330526899</c:v>
                </c:pt>
                <c:pt idx="200">
                  <c:v>9.4873618594197101E-2</c:v>
                </c:pt>
                <c:pt idx="201">
                  <c:v>1.17290658660919E-2</c:v>
                </c:pt>
                <c:pt idx="202">
                  <c:v>0.18382318852480001</c:v>
                </c:pt>
                <c:pt idx="203">
                  <c:v>-2</c:v>
                </c:pt>
                <c:pt idx="204">
                  <c:v>2.9559126082788701E-2</c:v>
                </c:pt>
                <c:pt idx="205">
                  <c:v>-2</c:v>
                </c:pt>
                <c:pt idx="206">
                  <c:v>-2</c:v>
                </c:pt>
                <c:pt idx="207">
                  <c:v>0.103029950347254</c:v>
                </c:pt>
                <c:pt idx="208">
                  <c:v>-2</c:v>
                </c:pt>
                <c:pt idx="209">
                  <c:v>-2</c:v>
                </c:pt>
                <c:pt idx="210">
                  <c:v>6.0907679923768297E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0.182807739281073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0.12577789315908799</c:v>
                </c:pt>
                <c:pt idx="235">
                  <c:v>-2</c:v>
                </c:pt>
                <c:pt idx="236">
                  <c:v>-3.8896857145151398E-2</c:v>
                </c:pt>
                <c:pt idx="237">
                  <c:v>5.2221684994815498E-2</c:v>
                </c:pt>
                <c:pt idx="238">
                  <c:v>-0.14390859620076499</c:v>
                </c:pt>
                <c:pt idx="239">
                  <c:v>-2</c:v>
                </c:pt>
                <c:pt idx="240">
                  <c:v>-0.14304548685669899</c:v>
                </c:pt>
                <c:pt idx="241">
                  <c:v>-2</c:v>
                </c:pt>
                <c:pt idx="242">
                  <c:v>-4.0837991607960604E-3</c:v>
                </c:pt>
                <c:pt idx="243">
                  <c:v>0.11328242520952</c:v>
                </c:pt>
                <c:pt idx="244">
                  <c:v>-0.114446032747061</c:v>
                </c:pt>
                <c:pt idx="245">
                  <c:v>-6.9163381410333805E-2</c:v>
                </c:pt>
                <c:pt idx="246">
                  <c:v>-2</c:v>
                </c:pt>
                <c:pt idx="247">
                  <c:v>0.10871084920225001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0.194320903729188</c:v>
                </c:pt>
                <c:pt idx="256">
                  <c:v>-2</c:v>
                </c:pt>
                <c:pt idx="257">
                  <c:v>-2.5249611557262502E-2</c:v>
                </c:pt>
                <c:pt idx="258">
                  <c:v>-2</c:v>
                </c:pt>
                <c:pt idx="259">
                  <c:v>-8.61607049874243E-2</c:v>
                </c:pt>
                <c:pt idx="260">
                  <c:v>0.14882804832966601</c:v>
                </c:pt>
                <c:pt idx="261">
                  <c:v>-2</c:v>
                </c:pt>
                <c:pt idx="262">
                  <c:v>0.102905137166168</c:v>
                </c:pt>
                <c:pt idx="263">
                  <c:v>9.0736564142563106E-2</c:v>
                </c:pt>
                <c:pt idx="264">
                  <c:v>7.9270687812397003E-2</c:v>
                </c:pt>
                <c:pt idx="265">
                  <c:v>-5.7647307800828003E-2</c:v>
                </c:pt>
                <c:pt idx="266">
                  <c:v>-2</c:v>
                </c:pt>
                <c:pt idx="267">
                  <c:v>-2</c:v>
                </c:pt>
                <c:pt idx="268">
                  <c:v>0.15142415399704101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5.5317132109087799E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0.13132047453803</c:v>
                </c:pt>
                <c:pt idx="299">
                  <c:v>6.7811938912314407E-2</c:v>
                </c:pt>
                <c:pt idx="300">
                  <c:v>6.2495605802881597E-2</c:v>
                </c:pt>
                <c:pt idx="301">
                  <c:v>0.17296454911836601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0.114832651156069</c:v>
                </c:pt>
                <c:pt idx="306">
                  <c:v>-2</c:v>
                </c:pt>
                <c:pt idx="307">
                  <c:v>-0.15610282126998001</c:v>
                </c:pt>
                <c:pt idx="308">
                  <c:v>-2</c:v>
                </c:pt>
                <c:pt idx="309">
                  <c:v>-8.5459825637907605E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9.4809263281696796E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5.2261329472163498E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3.1601629711143298E-3</c:v>
                </c:pt>
                <c:pt idx="326">
                  <c:v>-2</c:v>
                </c:pt>
                <c:pt idx="327">
                  <c:v>-2</c:v>
                </c:pt>
                <c:pt idx="328">
                  <c:v>-0.12503087799561999</c:v>
                </c:pt>
                <c:pt idx="329">
                  <c:v>3.9951878265791198E-2</c:v>
                </c:pt>
                <c:pt idx="330">
                  <c:v>-2</c:v>
                </c:pt>
                <c:pt idx="331">
                  <c:v>-9.3076590680491497E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7.3334982190653E-2</c:v>
                </c:pt>
                <c:pt idx="336">
                  <c:v>-2</c:v>
                </c:pt>
                <c:pt idx="337">
                  <c:v>-2</c:v>
                </c:pt>
                <c:pt idx="338">
                  <c:v>4.7009596626465203E-3</c:v>
                </c:pt>
                <c:pt idx="339">
                  <c:v>-0.16186952672100499</c:v>
                </c:pt>
                <c:pt idx="340">
                  <c:v>0.13178676217041399</c:v>
                </c:pt>
                <c:pt idx="341">
                  <c:v>-2</c:v>
                </c:pt>
                <c:pt idx="342">
                  <c:v>-2</c:v>
                </c:pt>
                <c:pt idx="343">
                  <c:v>-5.8055515950629098E-2</c:v>
                </c:pt>
                <c:pt idx="344">
                  <c:v>-2</c:v>
                </c:pt>
                <c:pt idx="345">
                  <c:v>-3.0563864814770199E-2</c:v>
                </c:pt>
                <c:pt idx="346">
                  <c:v>-9.9760549101109902E-2</c:v>
                </c:pt>
                <c:pt idx="347">
                  <c:v>-0.10455639261633499</c:v>
                </c:pt>
                <c:pt idx="348">
                  <c:v>-0.19153629708266101</c:v>
                </c:pt>
                <c:pt idx="349">
                  <c:v>-2</c:v>
                </c:pt>
                <c:pt idx="350">
                  <c:v>-5.2414699603772499E-2</c:v>
                </c:pt>
                <c:pt idx="351">
                  <c:v>-0.13717944014937999</c:v>
                </c:pt>
                <c:pt idx="352">
                  <c:v>0.115005099236082</c:v>
                </c:pt>
                <c:pt idx="353">
                  <c:v>-3.7313593649953201E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9.8300108704835201E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0.16146252530056401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15B8-4022-9CCF-53DF25A73A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56051279"/>
        <c:axId val="1219169983"/>
      </c:scatterChart>
      <c:valAx>
        <c:axId val="1356051279"/>
        <c:scaling>
          <c:orientation val="minMax"/>
          <c:max val="1.2"/>
          <c:min val="-0.8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C1 - 13%</a:t>
                </a:r>
                <a:endParaRPr lang="pl-PL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1219169983"/>
        <c:crosses val="autoZero"/>
        <c:crossBetween val="midCat"/>
        <c:majorUnit val="0.2"/>
      </c:valAx>
      <c:valAx>
        <c:axId val="1219169983"/>
        <c:scaling>
          <c:orientation val="minMax"/>
          <c:max val="0.8"/>
          <c:min val="-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C</a:t>
                </a:r>
                <a:r>
                  <a:rPr lang="en-US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2 - 7,7%</a:t>
                </a:r>
                <a:endParaRPr lang="pl-PL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135605127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pl-P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2013 </a:t>
            </a:r>
            <a:r>
              <a:rPr lang="en-US" dirty="0" err="1"/>
              <a:t>rok</a:t>
            </a:r>
            <a:endParaRPr lang="pl-PL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title>
    <c:autoTitleDeleted val="0"/>
    <c:plotArea>
      <c:layout/>
      <c:scatterChart>
        <c:scatterStyle val="lineMarker"/>
        <c:varyColors val="0"/>
        <c:ser>
          <c:idx val="1"/>
          <c:order val="0"/>
          <c:tx>
            <c:v>grupa 1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pca1-3'!$D$2:$D$381</c:f>
              <c:numCache>
                <c:formatCode>General</c:formatCode>
                <c:ptCount val="380"/>
                <c:pt idx="0">
                  <c:v>-2</c:v>
                </c:pt>
                <c:pt idx="1">
                  <c:v>8.2982838386675695E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9.1136227719635199E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0.121892250181812</c:v>
                </c:pt>
                <c:pt idx="18">
                  <c:v>-2</c:v>
                </c:pt>
                <c:pt idx="19">
                  <c:v>5.2146808154227002E-2</c:v>
                </c:pt>
                <c:pt idx="20">
                  <c:v>0.129803498847122</c:v>
                </c:pt>
                <c:pt idx="21">
                  <c:v>-2</c:v>
                </c:pt>
                <c:pt idx="22">
                  <c:v>0.175532240830376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0.41171910409040302</c:v>
                </c:pt>
                <c:pt idx="95">
                  <c:v>-2</c:v>
                </c:pt>
                <c:pt idx="96">
                  <c:v>0.48550577295330699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0.271419824218183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0.54348170777152904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0.652254282602591</c:v>
                </c:pt>
                <c:pt idx="132">
                  <c:v>-2</c:v>
                </c:pt>
                <c:pt idx="133">
                  <c:v>0.41572425452208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0.41026412065956702</c:v>
                </c:pt>
                <c:pt idx="138">
                  <c:v>-2</c:v>
                </c:pt>
                <c:pt idx="139">
                  <c:v>0.45147656631579902</c:v>
                </c:pt>
                <c:pt idx="140">
                  <c:v>0.30098868269366102</c:v>
                </c:pt>
                <c:pt idx="141">
                  <c:v>0.42393832973336398</c:v>
                </c:pt>
                <c:pt idx="142">
                  <c:v>0.36380691105916901</c:v>
                </c:pt>
                <c:pt idx="143">
                  <c:v>0.18548523288694299</c:v>
                </c:pt>
                <c:pt idx="144">
                  <c:v>0.33674730466022801</c:v>
                </c:pt>
                <c:pt idx="145">
                  <c:v>0.43485182756671698</c:v>
                </c:pt>
                <c:pt idx="146">
                  <c:v>0.27508967742535001</c:v>
                </c:pt>
                <c:pt idx="147">
                  <c:v>0.36223784687884197</c:v>
                </c:pt>
                <c:pt idx="148">
                  <c:v>0.47705927969571799</c:v>
                </c:pt>
                <c:pt idx="149">
                  <c:v>0.20166866419174401</c:v>
                </c:pt>
                <c:pt idx="150">
                  <c:v>0.36724893031873901</c:v>
                </c:pt>
                <c:pt idx="151">
                  <c:v>0.46869416426884702</c:v>
                </c:pt>
                <c:pt idx="152">
                  <c:v>0.33034519371813698</c:v>
                </c:pt>
                <c:pt idx="153">
                  <c:v>0.41575013739116301</c:v>
                </c:pt>
                <c:pt idx="154">
                  <c:v>0.376926536838739</c:v>
                </c:pt>
                <c:pt idx="155">
                  <c:v>0.49471446978470401</c:v>
                </c:pt>
                <c:pt idx="156">
                  <c:v>0.21415543255157099</c:v>
                </c:pt>
                <c:pt idx="157">
                  <c:v>0.281025747625472</c:v>
                </c:pt>
                <c:pt idx="158">
                  <c:v>0.161907306179574</c:v>
                </c:pt>
                <c:pt idx="159">
                  <c:v>0.29886178590027501</c:v>
                </c:pt>
                <c:pt idx="160">
                  <c:v>0.30605301398462897</c:v>
                </c:pt>
                <c:pt idx="161">
                  <c:v>0.26041498823118198</c:v>
                </c:pt>
                <c:pt idx="162">
                  <c:v>0.45171192312786501</c:v>
                </c:pt>
                <c:pt idx="163">
                  <c:v>0.16912666396723999</c:v>
                </c:pt>
                <c:pt idx="164">
                  <c:v>0.26367187518247798</c:v>
                </c:pt>
                <c:pt idx="165">
                  <c:v>0.443929876623883</c:v>
                </c:pt>
                <c:pt idx="166">
                  <c:v>-2</c:v>
                </c:pt>
                <c:pt idx="167">
                  <c:v>0.52664517105098596</c:v>
                </c:pt>
                <c:pt idx="168">
                  <c:v>0.50160363448357703</c:v>
                </c:pt>
                <c:pt idx="169">
                  <c:v>0.51631479468351804</c:v>
                </c:pt>
                <c:pt idx="170">
                  <c:v>0.213326764478597</c:v>
                </c:pt>
                <c:pt idx="171">
                  <c:v>0.42686940430463699</c:v>
                </c:pt>
                <c:pt idx="172">
                  <c:v>0.199984171896983</c:v>
                </c:pt>
                <c:pt idx="173">
                  <c:v>0.149943152189116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9.2284141330720298E-3</c:v>
                </c:pt>
                <c:pt idx="186">
                  <c:v>4.9818252552906901E-2</c:v>
                </c:pt>
                <c:pt idx="187">
                  <c:v>0.13827680819500199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0.39323059072487598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3.02952950615871E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0.22598861250791999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0.118294079222534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0.234535692673847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1-3'!$E$2:$E$381</c:f>
              <c:numCache>
                <c:formatCode>General</c:formatCode>
                <c:ptCount val="380"/>
                <c:pt idx="0">
                  <c:v>-2</c:v>
                </c:pt>
                <c:pt idx="1">
                  <c:v>0.32866459710752299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0.41456738043685998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0.62637901531255802</c:v>
                </c:pt>
                <c:pt idx="18">
                  <c:v>-2</c:v>
                </c:pt>
                <c:pt idx="19">
                  <c:v>0.547478497585283</c:v>
                </c:pt>
                <c:pt idx="20">
                  <c:v>0.46465042282683899</c:v>
                </c:pt>
                <c:pt idx="21">
                  <c:v>-2</c:v>
                </c:pt>
                <c:pt idx="22">
                  <c:v>0.74064490951259399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1.9235288568985501E-2</c:v>
                </c:pt>
                <c:pt idx="95">
                  <c:v>-2</c:v>
                </c:pt>
                <c:pt idx="96">
                  <c:v>8.41349195625581E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2.12762334301515E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0.13293852691722399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0.21237939339793499</c:v>
                </c:pt>
                <c:pt idx="132">
                  <c:v>-2</c:v>
                </c:pt>
                <c:pt idx="133">
                  <c:v>2.0449958965517798E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0.27606610456139502</c:v>
                </c:pt>
                <c:pt idx="138">
                  <c:v>-2</c:v>
                </c:pt>
                <c:pt idx="139">
                  <c:v>0.183488063569583</c:v>
                </c:pt>
                <c:pt idx="140">
                  <c:v>0.26432672783445699</c:v>
                </c:pt>
                <c:pt idx="141">
                  <c:v>0.53064296542870104</c:v>
                </c:pt>
                <c:pt idx="142">
                  <c:v>0.39263703145589601</c:v>
                </c:pt>
                <c:pt idx="143">
                  <c:v>0.21986369331209099</c:v>
                </c:pt>
                <c:pt idx="144">
                  <c:v>0.45527447049895198</c:v>
                </c:pt>
                <c:pt idx="145">
                  <c:v>0.32539459090829198</c:v>
                </c:pt>
                <c:pt idx="146">
                  <c:v>0.35108588752930597</c:v>
                </c:pt>
                <c:pt idx="147">
                  <c:v>0.33114917089050699</c:v>
                </c:pt>
                <c:pt idx="148">
                  <c:v>0.43001107690416501</c:v>
                </c:pt>
                <c:pt idx="149">
                  <c:v>0.37432951857129598</c:v>
                </c:pt>
                <c:pt idx="150">
                  <c:v>0.36392819989187702</c:v>
                </c:pt>
                <c:pt idx="151">
                  <c:v>0.12819548585141399</c:v>
                </c:pt>
                <c:pt idx="152">
                  <c:v>0.37960709832503797</c:v>
                </c:pt>
                <c:pt idx="153">
                  <c:v>0.50844938805072404</c:v>
                </c:pt>
                <c:pt idx="154">
                  <c:v>0.78170937195162005</c:v>
                </c:pt>
                <c:pt idx="155">
                  <c:v>0.30259158462927499</c:v>
                </c:pt>
                <c:pt idx="156">
                  <c:v>0.29175575491199002</c:v>
                </c:pt>
                <c:pt idx="157">
                  <c:v>0.58396238918463705</c:v>
                </c:pt>
                <c:pt idx="158">
                  <c:v>0.310848862869475</c:v>
                </c:pt>
                <c:pt idx="159">
                  <c:v>0.30464267421589297</c:v>
                </c:pt>
                <c:pt idx="160">
                  <c:v>0.26813364767439202</c:v>
                </c:pt>
                <c:pt idx="161">
                  <c:v>0.114022106937401</c:v>
                </c:pt>
                <c:pt idx="162">
                  <c:v>0.29097008883428799</c:v>
                </c:pt>
                <c:pt idx="163">
                  <c:v>0.20863821899638599</c:v>
                </c:pt>
                <c:pt idx="164">
                  <c:v>0.35276654990606399</c:v>
                </c:pt>
                <c:pt idx="165">
                  <c:v>0.38077508096760798</c:v>
                </c:pt>
                <c:pt idx="166">
                  <c:v>-2</c:v>
                </c:pt>
                <c:pt idx="167">
                  <c:v>0.92377955931077904</c:v>
                </c:pt>
                <c:pt idx="168">
                  <c:v>0.391334689434157</c:v>
                </c:pt>
                <c:pt idx="169">
                  <c:v>0.42126710983406102</c:v>
                </c:pt>
                <c:pt idx="170">
                  <c:v>0.29880494889041997</c:v>
                </c:pt>
                <c:pt idx="171">
                  <c:v>0.28649454852469702</c:v>
                </c:pt>
                <c:pt idx="172">
                  <c:v>0.26632796905530598</c:v>
                </c:pt>
                <c:pt idx="173">
                  <c:v>0.20139924383664501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0.249295905738877</c:v>
                </c:pt>
                <c:pt idx="186">
                  <c:v>0.238445864492282</c:v>
                </c:pt>
                <c:pt idx="187">
                  <c:v>0.27609785558998101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4.0319081732797003E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0.20201958899023401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0.22011829673126701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0.27474312972972897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0.23060165966249799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329-40AF-AA0F-F8707F4524E1}"/>
            </c:ext>
          </c:extLst>
        </c:ser>
        <c:ser>
          <c:idx val="2"/>
          <c:order val="1"/>
          <c:tx>
            <c:v>grupa 2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rgbClr val="FF3399"/>
                </a:solidFill>
              </a:ln>
              <a:effectLst/>
            </c:spPr>
          </c:marker>
          <c:xVal>
            <c:numRef>
              <c:f>'pca1-3'!$F$2:$F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7.8763022914126707E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8.1514782712361997E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9.1911397464493505E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6.7927031048298406E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6.4057490628318003E-2</c:v>
                </c:pt>
                <c:pt idx="74">
                  <c:v>2.29948930782089E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4.6393243949389401E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3.6331453512014299E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3.09429385679071E-2</c:v>
                </c:pt>
                <c:pt idx="194">
                  <c:v>-2</c:v>
                </c:pt>
                <c:pt idx="195">
                  <c:v>-2</c:v>
                </c:pt>
                <c:pt idx="196">
                  <c:v>8.3054224814874303E-2</c:v>
                </c:pt>
                <c:pt idx="197">
                  <c:v>-2</c:v>
                </c:pt>
                <c:pt idx="198">
                  <c:v>-2</c:v>
                </c:pt>
                <c:pt idx="199">
                  <c:v>7.2304272404671396E-2</c:v>
                </c:pt>
                <c:pt idx="200">
                  <c:v>4.7207735593490702E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5.2700949166227501E-2</c:v>
                </c:pt>
                <c:pt idx="205">
                  <c:v>-2</c:v>
                </c:pt>
                <c:pt idx="206">
                  <c:v>-2</c:v>
                </c:pt>
                <c:pt idx="207">
                  <c:v>5.97848394955749E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4.91216361155438E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6.2118893086343198E-2</c:v>
                </c:pt>
                <c:pt idx="231">
                  <c:v>6.8762078479232103E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8.7458349494640403E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8.7156397288066997E-2</c:v>
                </c:pt>
                <c:pt idx="300">
                  <c:v>-2</c:v>
                </c:pt>
                <c:pt idx="301">
                  <c:v>-2</c:v>
                </c:pt>
                <c:pt idx="302">
                  <c:v>2.5943454210959199E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1-3'!$G$2:$G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0.3342472551468930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0.381617014382369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0.29021066901533699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0.33542149196920201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0.384430653672579</c:v>
                </c:pt>
                <c:pt idx="74">
                  <c:v>-0.4375253288992970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0.40773831483802098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0.40588525101040401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0.524313632845258</c:v>
                </c:pt>
                <c:pt idx="194">
                  <c:v>-2</c:v>
                </c:pt>
                <c:pt idx="195">
                  <c:v>-2</c:v>
                </c:pt>
                <c:pt idx="196">
                  <c:v>-0.38640847314903298</c:v>
                </c:pt>
                <c:pt idx="197">
                  <c:v>-2</c:v>
                </c:pt>
                <c:pt idx="198">
                  <c:v>-2</c:v>
                </c:pt>
                <c:pt idx="199">
                  <c:v>-0.335774577662315</c:v>
                </c:pt>
                <c:pt idx="200">
                  <c:v>-0.307038930329608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0.32966085855941002</c:v>
                </c:pt>
                <c:pt idx="205">
                  <c:v>-2</c:v>
                </c:pt>
                <c:pt idx="206">
                  <c:v>-2</c:v>
                </c:pt>
                <c:pt idx="207">
                  <c:v>-0.45127281580800199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0.428747225407627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0.39913302793960798</c:v>
                </c:pt>
                <c:pt idx="231">
                  <c:v>-0.35073378405376698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0.3406144396064190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0.29765463676391302</c:v>
                </c:pt>
                <c:pt idx="300">
                  <c:v>-2</c:v>
                </c:pt>
                <c:pt idx="301">
                  <c:v>-2</c:v>
                </c:pt>
                <c:pt idx="302">
                  <c:v>-0.24445452428502601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329-40AF-AA0F-F8707F4524E1}"/>
            </c:ext>
          </c:extLst>
        </c:ser>
        <c:ser>
          <c:idx val="3"/>
          <c:order val="2"/>
          <c:tx>
            <c:v>grupa 3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'pca1-3'!$H$2:$H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0.14414719323407399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0.300182984143331</c:v>
                </c:pt>
                <c:pt idx="38">
                  <c:v>-2</c:v>
                </c:pt>
                <c:pt idx="39">
                  <c:v>-2</c:v>
                </c:pt>
                <c:pt idx="40">
                  <c:v>0.26519789194506899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0.17088613319832299</c:v>
                </c:pt>
                <c:pt idx="45">
                  <c:v>-2</c:v>
                </c:pt>
                <c:pt idx="46">
                  <c:v>-2</c:v>
                </c:pt>
                <c:pt idx="47">
                  <c:v>0.41372903531736099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0.473051828122725</c:v>
                </c:pt>
                <c:pt idx="54">
                  <c:v>0.35380128568816299</c:v>
                </c:pt>
                <c:pt idx="55">
                  <c:v>0.49589203376289798</c:v>
                </c:pt>
                <c:pt idx="56">
                  <c:v>0.45803769911740899</c:v>
                </c:pt>
                <c:pt idx="57">
                  <c:v>0.35285554892418097</c:v>
                </c:pt>
                <c:pt idx="58">
                  <c:v>0.33776195608739201</c:v>
                </c:pt>
                <c:pt idx="59">
                  <c:v>0.30194209431755398</c:v>
                </c:pt>
                <c:pt idx="60">
                  <c:v>0.38281963975122002</c:v>
                </c:pt>
                <c:pt idx="61">
                  <c:v>0.55602722257691795</c:v>
                </c:pt>
                <c:pt idx="62">
                  <c:v>0.20503111947552999</c:v>
                </c:pt>
                <c:pt idx="63">
                  <c:v>0.29306008020799101</c:v>
                </c:pt>
                <c:pt idx="64">
                  <c:v>-2</c:v>
                </c:pt>
                <c:pt idx="65">
                  <c:v>0.21758104689097099</c:v>
                </c:pt>
                <c:pt idx="66">
                  <c:v>0.20685891973458001</c:v>
                </c:pt>
                <c:pt idx="67">
                  <c:v>0.36543916108110602</c:v>
                </c:pt>
                <c:pt idx="68">
                  <c:v>0.54411357796165205</c:v>
                </c:pt>
                <c:pt idx="69">
                  <c:v>-2</c:v>
                </c:pt>
                <c:pt idx="70">
                  <c:v>0.28632907475410901</c:v>
                </c:pt>
                <c:pt idx="71">
                  <c:v>-2</c:v>
                </c:pt>
                <c:pt idx="72">
                  <c:v>0.67712548706740405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0.28543294900167898</c:v>
                </c:pt>
                <c:pt idx="94">
                  <c:v>-2</c:v>
                </c:pt>
                <c:pt idx="95">
                  <c:v>0.30936047556289897</c:v>
                </c:pt>
                <c:pt idx="96">
                  <c:v>-2</c:v>
                </c:pt>
                <c:pt idx="97">
                  <c:v>0.146903865722008</c:v>
                </c:pt>
                <c:pt idx="98">
                  <c:v>0.31236449058860599</c:v>
                </c:pt>
                <c:pt idx="99">
                  <c:v>0.28771181292278403</c:v>
                </c:pt>
                <c:pt idx="100">
                  <c:v>0.43378638842809902</c:v>
                </c:pt>
                <c:pt idx="101">
                  <c:v>0.29966748983765401</c:v>
                </c:pt>
                <c:pt idx="102">
                  <c:v>0.23593539966365601</c:v>
                </c:pt>
                <c:pt idx="103">
                  <c:v>0.34475709911941699</c:v>
                </c:pt>
                <c:pt idx="104">
                  <c:v>0.34685809718864702</c:v>
                </c:pt>
                <c:pt idx="105">
                  <c:v>0.31423168332378498</c:v>
                </c:pt>
                <c:pt idx="106">
                  <c:v>0.23273541649274301</c:v>
                </c:pt>
                <c:pt idx="107">
                  <c:v>0.22554342116890699</c:v>
                </c:pt>
                <c:pt idx="108">
                  <c:v>0.29650875890336498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0.48907684410438601</c:v>
                </c:pt>
                <c:pt idx="116">
                  <c:v>0.49025434628899001</c:v>
                </c:pt>
                <c:pt idx="117">
                  <c:v>-2</c:v>
                </c:pt>
                <c:pt idx="118">
                  <c:v>0.40933755422308599</c:v>
                </c:pt>
                <c:pt idx="119">
                  <c:v>0.47993507444832001</c:v>
                </c:pt>
                <c:pt idx="120">
                  <c:v>-2</c:v>
                </c:pt>
                <c:pt idx="121">
                  <c:v>0.76617892425759404</c:v>
                </c:pt>
                <c:pt idx="122">
                  <c:v>0.46274833177048202</c:v>
                </c:pt>
                <c:pt idx="123">
                  <c:v>0.56901920074682999</c:v>
                </c:pt>
                <c:pt idx="124">
                  <c:v>0.77489531444837501</c:v>
                </c:pt>
                <c:pt idx="125">
                  <c:v>0.67891870461269299</c:v>
                </c:pt>
                <c:pt idx="126">
                  <c:v>0.208168996594262</c:v>
                </c:pt>
                <c:pt idx="127">
                  <c:v>0.208388493019037</c:v>
                </c:pt>
                <c:pt idx="128">
                  <c:v>0.39409597541602298</c:v>
                </c:pt>
                <c:pt idx="129">
                  <c:v>0.77498263441070303</c:v>
                </c:pt>
                <c:pt idx="130">
                  <c:v>0.71242356568169296</c:v>
                </c:pt>
                <c:pt idx="131">
                  <c:v>-2</c:v>
                </c:pt>
                <c:pt idx="132">
                  <c:v>0.352729088304501</c:v>
                </c:pt>
                <c:pt idx="133">
                  <c:v>-2</c:v>
                </c:pt>
                <c:pt idx="134">
                  <c:v>-2</c:v>
                </c:pt>
                <c:pt idx="135">
                  <c:v>0.230665628550903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0.29778075776039198</c:v>
                </c:pt>
                <c:pt idx="193">
                  <c:v>-2</c:v>
                </c:pt>
                <c:pt idx="194">
                  <c:v>-2</c:v>
                </c:pt>
                <c:pt idx="195">
                  <c:v>0.177182372700049</c:v>
                </c:pt>
                <c:pt idx="196">
                  <c:v>-2</c:v>
                </c:pt>
                <c:pt idx="197">
                  <c:v>0.320730898069849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0.28834477853269702</c:v>
                </c:pt>
                <c:pt idx="203">
                  <c:v>0.23347278492251899</c:v>
                </c:pt>
                <c:pt idx="204">
                  <c:v>-2</c:v>
                </c:pt>
                <c:pt idx="205">
                  <c:v>0.26539502775329499</c:v>
                </c:pt>
                <c:pt idx="206">
                  <c:v>0.30160656761586702</c:v>
                </c:pt>
                <c:pt idx="207">
                  <c:v>-2</c:v>
                </c:pt>
                <c:pt idx="208">
                  <c:v>-2</c:v>
                </c:pt>
                <c:pt idx="209">
                  <c:v>0.29075068765315498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0.36218149412811501</c:v>
                </c:pt>
                <c:pt idx="217">
                  <c:v>0.35160823929267598</c:v>
                </c:pt>
                <c:pt idx="218">
                  <c:v>0.37142814960339499</c:v>
                </c:pt>
                <c:pt idx="219">
                  <c:v>0.36589946949618601</c:v>
                </c:pt>
                <c:pt idx="220">
                  <c:v>0.35711794475576297</c:v>
                </c:pt>
                <c:pt idx="221">
                  <c:v>0.48443873808683702</c:v>
                </c:pt>
                <c:pt idx="222">
                  <c:v>0.57834118303973703</c:v>
                </c:pt>
                <c:pt idx="223">
                  <c:v>0.37442809077540501</c:v>
                </c:pt>
                <c:pt idx="224">
                  <c:v>0.52343823379299304</c:v>
                </c:pt>
                <c:pt idx="225">
                  <c:v>0.52084334663821397</c:v>
                </c:pt>
                <c:pt idx="226">
                  <c:v>0.43222224310885998</c:v>
                </c:pt>
                <c:pt idx="227">
                  <c:v>0.2890118273342390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0.208086797332624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0.26559703446896599</c:v>
                </c:pt>
                <c:pt idx="290">
                  <c:v>0.40891917635118102</c:v>
                </c:pt>
                <c:pt idx="291">
                  <c:v>0.447293165341698</c:v>
                </c:pt>
                <c:pt idx="292">
                  <c:v>0.416579687344447</c:v>
                </c:pt>
                <c:pt idx="293">
                  <c:v>0.342714896400791</c:v>
                </c:pt>
                <c:pt idx="294">
                  <c:v>0.34556822228054701</c:v>
                </c:pt>
                <c:pt idx="295">
                  <c:v>-2</c:v>
                </c:pt>
                <c:pt idx="296">
                  <c:v>0.37888141920926699</c:v>
                </c:pt>
                <c:pt idx="297">
                  <c:v>0.286415357784986</c:v>
                </c:pt>
                <c:pt idx="298">
                  <c:v>-2</c:v>
                </c:pt>
                <c:pt idx="299">
                  <c:v>-2</c:v>
                </c:pt>
                <c:pt idx="300">
                  <c:v>0.212742215714809</c:v>
                </c:pt>
                <c:pt idx="301">
                  <c:v>0.40271621187961698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1-3'!$I$2:$I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0.20221141841081999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0.144105830821951</c:v>
                </c:pt>
                <c:pt idx="38">
                  <c:v>-2</c:v>
                </c:pt>
                <c:pt idx="39">
                  <c:v>-2</c:v>
                </c:pt>
                <c:pt idx="40">
                  <c:v>-0.225896155379885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0.220918935972898</c:v>
                </c:pt>
                <c:pt idx="45">
                  <c:v>-2</c:v>
                </c:pt>
                <c:pt idx="46">
                  <c:v>-2</c:v>
                </c:pt>
                <c:pt idx="47">
                  <c:v>-9.5864076459664799E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0.244786397268317</c:v>
                </c:pt>
                <c:pt idx="54">
                  <c:v>-0.21023384139453999</c:v>
                </c:pt>
                <c:pt idx="55">
                  <c:v>-0.263404762340885</c:v>
                </c:pt>
                <c:pt idx="56">
                  <c:v>-0.15614103055598999</c:v>
                </c:pt>
                <c:pt idx="57">
                  <c:v>-0.23496644616899201</c:v>
                </c:pt>
                <c:pt idx="58">
                  <c:v>-0.20588018386950799</c:v>
                </c:pt>
                <c:pt idx="59">
                  <c:v>-0.23735564343551899</c:v>
                </c:pt>
                <c:pt idx="60">
                  <c:v>-0.17608127482546099</c:v>
                </c:pt>
                <c:pt idx="61">
                  <c:v>-0.110499053758423</c:v>
                </c:pt>
                <c:pt idx="62">
                  <c:v>-0.28660302500420498</c:v>
                </c:pt>
                <c:pt idx="63">
                  <c:v>-0.22095837058491999</c:v>
                </c:pt>
                <c:pt idx="64">
                  <c:v>-2</c:v>
                </c:pt>
                <c:pt idx="65">
                  <c:v>-0.35389444082320698</c:v>
                </c:pt>
                <c:pt idx="66">
                  <c:v>-0.20645166137326601</c:v>
                </c:pt>
                <c:pt idx="67">
                  <c:v>-0.26264479827297799</c:v>
                </c:pt>
                <c:pt idx="68">
                  <c:v>-0.22281986008834501</c:v>
                </c:pt>
                <c:pt idx="69">
                  <c:v>-2</c:v>
                </c:pt>
                <c:pt idx="70">
                  <c:v>-0.25556803032729197</c:v>
                </c:pt>
                <c:pt idx="71">
                  <c:v>-2</c:v>
                </c:pt>
                <c:pt idx="72">
                  <c:v>-0.22025830388662801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4.3754332974375497E-2</c:v>
                </c:pt>
                <c:pt idx="94">
                  <c:v>-2</c:v>
                </c:pt>
                <c:pt idx="95">
                  <c:v>-2.8948352786798401E-2</c:v>
                </c:pt>
                <c:pt idx="96">
                  <c:v>-2</c:v>
                </c:pt>
                <c:pt idx="97">
                  <c:v>-0.23484796285192999</c:v>
                </c:pt>
                <c:pt idx="98">
                  <c:v>-6.1172446339476397E-2</c:v>
                </c:pt>
                <c:pt idx="99">
                  <c:v>-0.112493423160567</c:v>
                </c:pt>
                <c:pt idx="100">
                  <c:v>-1.60634490427892E-2</c:v>
                </c:pt>
                <c:pt idx="101">
                  <c:v>-4.74247647334562E-2</c:v>
                </c:pt>
                <c:pt idx="102">
                  <c:v>-0.224809765665066</c:v>
                </c:pt>
                <c:pt idx="103">
                  <c:v>-0.13617556163076699</c:v>
                </c:pt>
                <c:pt idx="104">
                  <c:v>-0.148480544154972</c:v>
                </c:pt>
                <c:pt idx="105">
                  <c:v>-9.1114392195812105E-2</c:v>
                </c:pt>
                <c:pt idx="106">
                  <c:v>-0.17072226663199799</c:v>
                </c:pt>
                <c:pt idx="107">
                  <c:v>-0.12907760217866099</c:v>
                </c:pt>
                <c:pt idx="108">
                  <c:v>-6.9699432529800797E-4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0.20117059425334599</c:v>
                </c:pt>
                <c:pt idx="116">
                  <c:v>-0.18997979152178099</c:v>
                </c:pt>
                <c:pt idx="117">
                  <c:v>-2</c:v>
                </c:pt>
                <c:pt idx="118">
                  <c:v>-0.25335122979864899</c:v>
                </c:pt>
                <c:pt idx="119">
                  <c:v>-0.34905424826200498</c:v>
                </c:pt>
                <c:pt idx="120">
                  <c:v>-2</c:v>
                </c:pt>
                <c:pt idx="121">
                  <c:v>-0.24495598286226999</c:v>
                </c:pt>
                <c:pt idx="122">
                  <c:v>-9.9670991079599994E-2</c:v>
                </c:pt>
                <c:pt idx="123">
                  <c:v>-0.17818322843789</c:v>
                </c:pt>
                <c:pt idx="124">
                  <c:v>-0.260195953287508</c:v>
                </c:pt>
                <c:pt idx="125">
                  <c:v>-0.21441878131355799</c:v>
                </c:pt>
                <c:pt idx="126">
                  <c:v>-0.22236057834640899</c:v>
                </c:pt>
                <c:pt idx="127">
                  <c:v>-0.115038507143696</c:v>
                </c:pt>
                <c:pt idx="128">
                  <c:v>-0.17275337664763801</c:v>
                </c:pt>
                <c:pt idx="129">
                  <c:v>-0.22897723501997699</c:v>
                </c:pt>
                <c:pt idx="130">
                  <c:v>-0.158854442769676</c:v>
                </c:pt>
                <c:pt idx="131">
                  <c:v>-2</c:v>
                </c:pt>
                <c:pt idx="132">
                  <c:v>-0.21343640665951299</c:v>
                </c:pt>
                <c:pt idx="133">
                  <c:v>-2</c:v>
                </c:pt>
                <c:pt idx="134">
                  <c:v>-2</c:v>
                </c:pt>
                <c:pt idx="135">
                  <c:v>-0.32381477814904303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0.60770408113466401</c:v>
                </c:pt>
                <c:pt idx="193">
                  <c:v>-2</c:v>
                </c:pt>
                <c:pt idx="194">
                  <c:v>-2</c:v>
                </c:pt>
                <c:pt idx="195">
                  <c:v>-0.54236743070606197</c:v>
                </c:pt>
                <c:pt idx="196">
                  <c:v>-2</c:v>
                </c:pt>
                <c:pt idx="197">
                  <c:v>-0.47908017241538298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0.43082348169108597</c:v>
                </c:pt>
                <c:pt idx="203">
                  <c:v>-0.40876611997558998</c:v>
                </c:pt>
                <c:pt idx="204">
                  <c:v>-2</c:v>
                </c:pt>
                <c:pt idx="205">
                  <c:v>-0.33705590711657801</c:v>
                </c:pt>
                <c:pt idx="206">
                  <c:v>-0.30475359774803801</c:v>
                </c:pt>
                <c:pt idx="207">
                  <c:v>-2</c:v>
                </c:pt>
                <c:pt idx="208">
                  <c:v>-2</c:v>
                </c:pt>
                <c:pt idx="209">
                  <c:v>-0.50380898497961701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0.14104427130727201</c:v>
                </c:pt>
                <c:pt idx="217">
                  <c:v>-7.9000132711067497E-2</c:v>
                </c:pt>
                <c:pt idx="218">
                  <c:v>-0.24412955363438901</c:v>
                </c:pt>
                <c:pt idx="219">
                  <c:v>-0.25853831705243902</c:v>
                </c:pt>
                <c:pt idx="220">
                  <c:v>-0.15793330758927199</c:v>
                </c:pt>
                <c:pt idx="221">
                  <c:v>-0.19351291125086501</c:v>
                </c:pt>
                <c:pt idx="222">
                  <c:v>-7.9351000578696096E-2</c:v>
                </c:pt>
                <c:pt idx="223">
                  <c:v>-0.146798231749141</c:v>
                </c:pt>
                <c:pt idx="224">
                  <c:v>-0.124196910858698</c:v>
                </c:pt>
                <c:pt idx="225">
                  <c:v>-7.7259348944764605E-2</c:v>
                </c:pt>
                <c:pt idx="226">
                  <c:v>-0.18036025087933799</c:v>
                </c:pt>
                <c:pt idx="227">
                  <c:v>-0.15252872180815999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0.20508515633612201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0.13153144816308501</c:v>
                </c:pt>
                <c:pt idx="290">
                  <c:v>-0.19132869784277601</c:v>
                </c:pt>
                <c:pt idx="291">
                  <c:v>-0.20055397209159301</c:v>
                </c:pt>
                <c:pt idx="292">
                  <c:v>-6.3912694342332099E-2</c:v>
                </c:pt>
                <c:pt idx="293">
                  <c:v>-0.14247911417557699</c:v>
                </c:pt>
                <c:pt idx="294">
                  <c:v>-0.182092911438931</c:v>
                </c:pt>
                <c:pt idx="295">
                  <c:v>-2</c:v>
                </c:pt>
                <c:pt idx="296">
                  <c:v>-3.0405141221022499E-2</c:v>
                </c:pt>
                <c:pt idx="297">
                  <c:v>-0.17747475563721499</c:v>
                </c:pt>
                <c:pt idx="298">
                  <c:v>-2</c:v>
                </c:pt>
                <c:pt idx="299">
                  <c:v>-2</c:v>
                </c:pt>
                <c:pt idx="300">
                  <c:v>-0.194835583670184</c:v>
                </c:pt>
                <c:pt idx="301">
                  <c:v>-0.100905379419423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A329-40AF-AA0F-F8707F4524E1}"/>
            </c:ext>
          </c:extLst>
        </c:ser>
        <c:ser>
          <c:idx val="4"/>
          <c:order val="3"/>
          <c:tx>
            <c:v>grupa 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5"/>
                </a:solidFill>
              </a:ln>
              <a:effectLst/>
            </c:spPr>
          </c:marker>
          <c:xVal>
            <c:numRef>
              <c:f>'pca1-3'!$J$2:$J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4.3132136084489001E-2</c:v>
                </c:pt>
                <c:pt idx="34">
                  <c:v>-2.3832124734373801E-2</c:v>
                </c:pt>
                <c:pt idx="35">
                  <c:v>-0.243762527068735</c:v>
                </c:pt>
                <c:pt idx="36">
                  <c:v>-0.312067087705934</c:v>
                </c:pt>
                <c:pt idx="37">
                  <c:v>-2</c:v>
                </c:pt>
                <c:pt idx="38">
                  <c:v>-8.5372086661355207E-2</c:v>
                </c:pt>
                <c:pt idx="39">
                  <c:v>-0.114958179000778</c:v>
                </c:pt>
                <c:pt idx="40">
                  <c:v>-2</c:v>
                </c:pt>
                <c:pt idx="41">
                  <c:v>-3.1340288310234603E-2</c:v>
                </c:pt>
                <c:pt idx="42">
                  <c:v>-2</c:v>
                </c:pt>
                <c:pt idx="43">
                  <c:v>-3.9026759753677698E-2</c:v>
                </c:pt>
                <c:pt idx="44">
                  <c:v>-2</c:v>
                </c:pt>
                <c:pt idx="45">
                  <c:v>-9.2761510437697203E-2</c:v>
                </c:pt>
                <c:pt idx="46">
                  <c:v>-9.5363601677244406E-2</c:v>
                </c:pt>
                <c:pt idx="47">
                  <c:v>-2</c:v>
                </c:pt>
                <c:pt idx="48">
                  <c:v>-0.10260697753954399</c:v>
                </c:pt>
                <c:pt idx="49">
                  <c:v>-0.19375491317261501</c:v>
                </c:pt>
                <c:pt idx="50">
                  <c:v>-2</c:v>
                </c:pt>
                <c:pt idx="51">
                  <c:v>-4.0702075857353401E-2</c:v>
                </c:pt>
                <c:pt idx="52">
                  <c:v>-0.15103426764487701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7.7764763567382295E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0.261162349216635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0.17407256428487999</c:v>
                </c:pt>
                <c:pt idx="113">
                  <c:v>-2</c:v>
                </c:pt>
                <c:pt idx="114">
                  <c:v>-0.15287977475966599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0.23962616958147301</c:v>
                </c:pt>
                <c:pt idx="192">
                  <c:v>-2</c:v>
                </c:pt>
                <c:pt idx="193">
                  <c:v>-2</c:v>
                </c:pt>
                <c:pt idx="194">
                  <c:v>-1.7567877224228399E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3.2865625148583599E-2</c:v>
                </c:pt>
                <c:pt idx="199">
                  <c:v>-2</c:v>
                </c:pt>
                <c:pt idx="200">
                  <c:v>-2</c:v>
                </c:pt>
                <c:pt idx="201">
                  <c:v>-2.1237545757743E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0.43541550507538901</c:v>
                </c:pt>
                <c:pt idx="209">
                  <c:v>-2</c:v>
                </c:pt>
                <c:pt idx="210">
                  <c:v>-0.48033297853749002</c:v>
                </c:pt>
                <c:pt idx="211">
                  <c:v>-2</c:v>
                </c:pt>
                <c:pt idx="212">
                  <c:v>-0.36205302053878802</c:v>
                </c:pt>
                <c:pt idx="213">
                  <c:v>-0.35947156844375999</c:v>
                </c:pt>
                <c:pt idx="214">
                  <c:v>-0.26303644140159799</c:v>
                </c:pt>
                <c:pt idx="215">
                  <c:v>-0.28428056667708801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.56185502237713E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0.14816198197958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1-3'!$K$2:$K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0.32045977930323499</c:v>
                </c:pt>
                <c:pt idx="34">
                  <c:v>-0.45440287235652699</c:v>
                </c:pt>
                <c:pt idx="35">
                  <c:v>-0.34162446223783399</c:v>
                </c:pt>
                <c:pt idx="36">
                  <c:v>-0.44655151431541001</c:v>
                </c:pt>
                <c:pt idx="37">
                  <c:v>-2</c:v>
                </c:pt>
                <c:pt idx="38">
                  <c:v>-0.36912580261193201</c:v>
                </c:pt>
                <c:pt idx="39">
                  <c:v>-0.391355994633932</c:v>
                </c:pt>
                <c:pt idx="40">
                  <c:v>-2</c:v>
                </c:pt>
                <c:pt idx="41">
                  <c:v>-0.38268886831954502</c:v>
                </c:pt>
                <c:pt idx="42">
                  <c:v>-2</c:v>
                </c:pt>
                <c:pt idx="43">
                  <c:v>-0.276654159815864</c:v>
                </c:pt>
                <c:pt idx="44">
                  <c:v>-2</c:v>
                </c:pt>
                <c:pt idx="45">
                  <c:v>-0.32133364111742202</c:v>
                </c:pt>
                <c:pt idx="46">
                  <c:v>-0.25500376034620897</c:v>
                </c:pt>
                <c:pt idx="47">
                  <c:v>-2</c:v>
                </c:pt>
                <c:pt idx="48">
                  <c:v>-0.35453743082030398</c:v>
                </c:pt>
                <c:pt idx="49">
                  <c:v>-0.442816112000194</c:v>
                </c:pt>
                <c:pt idx="50">
                  <c:v>-2</c:v>
                </c:pt>
                <c:pt idx="51">
                  <c:v>-0.40164372125116199</c:v>
                </c:pt>
                <c:pt idx="52">
                  <c:v>-0.46293448390044001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0.365201918374016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0.47010321676304401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0.25373252050588402</c:v>
                </c:pt>
                <c:pt idx="113">
                  <c:v>-2</c:v>
                </c:pt>
                <c:pt idx="114">
                  <c:v>-0.23982418613939099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0.74742148424413601</c:v>
                </c:pt>
                <c:pt idx="192">
                  <c:v>-2</c:v>
                </c:pt>
                <c:pt idx="193">
                  <c:v>-2</c:v>
                </c:pt>
                <c:pt idx="194">
                  <c:v>-0.38610298787586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0.43552927651930501</c:v>
                </c:pt>
                <c:pt idx="199">
                  <c:v>-2</c:v>
                </c:pt>
                <c:pt idx="200">
                  <c:v>-2</c:v>
                </c:pt>
                <c:pt idx="201">
                  <c:v>-0.40480741875942999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0.68709455942466102</c:v>
                </c:pt>
                <c:pt idx="209">
                  <c:v>-2</c:v>
                </c:pt>
                <c:pt idx="210">
                  <c:v>-0.54830514010103004</c:v>
                </c:pt>
                <c:pt idx="211">
                  <c:v>-2</c:v>
                </c:pt>
                <c:pt idx="212">
                  <c:v>-0.59037107574840997</c:v>
                </c:pt>
                <c:pt idx="213">
                  <c:v>-0.49944844856536702</c:v>
                </c:pt>
                <c:pt idx="214">
                  <c:v>-0.440848039676694</c:v>
                </c:pt>
                <c:pt idx="215">
                  <c:v>-0.709232401100373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0.45797529775843399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0.32815579956341501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A329-40AF-AA0F-F8707F4524E1}"/>
            </c:ext>
          </c:extLst>
        </c:ser>
        <c:ser>
          <c:idx val="5"/>
          <c:order val="4"/>
          <c:tx>
            <c:v>grupa 5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6"/>
                </a:solidFill>
              </a:ln>
              <a:effectLst/>
            </c:spPr>
          </c:marker>
          <c:xVal>
            <c:numRef>
              <c:f>'pca1-3'!$L$2:$L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0.70326550122014497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0.20315699725360101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0.30765945198104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0.43165588364242002</c:v>
                </c:pt>
                <c:pt idx="87">
                  <c:v>-2</c:v>
                </c:pt>
                <c:pt idx="88">
                  <c:v>-2</c:v>
                </c:pt>
                <c:pt idx="89">
                  <c:v>-0.53479172910769701</c:v>
                </c:pt>
                <c:pt idx="90">
                  <c:v>-0.36254558016942201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0.43147220097795003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0.34565193581178799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0.28351717626166401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0.87375210739829301</c:v>
                </c:pt>
                <c:pt idx="272">
                  <c:v>-0.64120055537924903</c:v>
                </c:pt>
                <c:pt idx="273">
                  <c:v>-0.231293456542361</c:v>
                </c:pt>
                <c:pt idx="274">
                  <c:v>-0.63653837181483897</c:v>
                </c:pt>
                <c:pt idx="275">
                  <c:v>-2</c:v>
                </c:pt>
                <c:pt idx="276">
                  <c:v>-0.71122503314312702</c:v>
                </c:pt>
                <c:pt idx="277">
                  <c:v>-0.21554378380709099</c:v>
                </c:pt>
                <c:pt idx="278">
                  <c:v>-0.57354375025892201</c:v>
                </c:pt>
                <c:pt idx="279">
                  <c:v>-0.85941953135709204</c:v>
                </c:pt>
                <c:pt idx="280">
                  <c:v>-0.30833351966109901</c:v>
                </c:pt>
                <c:pt idx="281">
                  <c:v>-0.69650653660184103</c:v>
                </c:pt>
                <c:pt idx="282">
                  <c:v>-2</c:v>
                </c:pt>
                <c:pt idx="283">
                  <c:v>-0.98321415940869705</c:v>
                </c:pt>
                <c:pt idx="284">
                  <c:v>-1.0668634589080199</c:v>
                </c:pt>
                <c:pt idx="285">
                  <c:v>-0.68007700111431502</c:v>
                </c:pt>
                <c:pt idx="286">
                  <c:v>-0.58843871603068698</c:v>
                </c:pt>
                <c:pt idx="287">
                  <c:v>-0.44484204179638598</c:v>
                </c:pt>
                <c:pt idx="288">
                  <c:v>-0.25213183786277898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0.4220199367119090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0.32171959706012998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0.21290520187586001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0.58482028438303202</c:v>
                </c:pt>
                <c:pt idx="356">
                  <c:v>-0.25220833579778601</c:v>
                </c:pt>
                <c:pt idx="357">
                  <c:v>-2</c:v>
                </c:pt>
                <c:pt idx="358">
                  <c:v>-0.21022920371129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0.28383074989296198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1-3'!$M$2:$M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0.876463859134895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9.4148120046887898E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7.8650197355734197E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8.0122426956228204E-2</c:v>
                </c:pt>
                <c:pt idx="87">
                  <c:v>-2</c:v>
                </c:pt>
                <c:pt idx="88">
                  <c:v>-2</c:v>
                </c:pt>
                <c:pt idx="89">
                  <c:v>-0.134074731898705</c:v>
                </c:pt>
                <c:pt idx="90">
                  <c:v>-0.13271474228264499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0.27319621622364998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0.16117138873575701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8.0603744458545901E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0.21039337857507401</c:v>
                </c:pt>
                <c:pt idx="272">
                  <c:v>-0.33064210865923599</c:v>
                </c:pt>
                <c:pt idx="273">
                  <c:v>-0.165905558190061</c:v>
                </c:pt>
                <c:pt idx="274">
                  <c:v>-0.237900785292255</c:v>
                </c:pt>
                <c:pt idx="275">
                  <c:v>-2</c:v>
                </c:pt>
                <c:pt idx="276">
                  <c:v>-0.58049904385775797</c:v>
                </c:pt>
                <c:pt idx="277">
                  <c:v>-0.120548929870092</c:v>
                </c:pt>
                <c:pt idx="278">
                  <c:v>-9.0972661582345501E-3</c:v>
                </c:pt>
                <c:pt idx="279">
                  <c:v>-0.248896398845913</c:v>
                </c:pt>
                <c:pt idx="280">
                  <c:v>-0.15401435421637699</c:v>
                </c:pt>
                <c:pt idx="281">
                  <c:v>-0.42875025259687399</c:v>
                </c:pt>
                <c:pt idx="282">
                  <c:v>-2</c:v>
                </c:pt>
                <c:pt idx="283">
                  <c:v>-0.47249348345922698</c:v>
                </c:pt>
                <c:pt idx="284">
                  <c:v>-0.454966562753709</c:v>
                </c:pt>
                <c:pt idx="285">
                  <c:v>-0.15413896743653899</c:v>
                </c:pt>
                <c:pt idx="286">
                  <c:v>-0.19773380303610399</c:v>
                </c:pt>
                <c:pt idx="287">
                  <c:v>-0.183824730278282</c:v>
                </c:pt>
                <c:pt idx="288">
                  <c:v>-0.13716889281993899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.17111727429357E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.6098428538909799E-2</c:v>
                </c:pt>
                <c:pt idx="327">
                  <c:v>-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2</c:v>
                </c:pt>
                <c:pt idx="340">
                  <c:v>-1.09421065810217E-2</c:v>
                </c:pt>
                <c:pt idx="341">
                  <c:v>-2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0.13697735341376199</c:v>
                </c:pt>
                <c:pt idx="356">
                  <c:v>-3.6141585963928101E-2</c:v>
                </c:pt>
                <c:pt idx="357">
                  <c:v>-2</c:v>
                </c:pt>
                <c:pt idx="358">
                  <c:v>-2.3668549878329701E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7.2725790180776906E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A329-40AF-AA0F-F8707F4524E1}"/>
            </c:ext>
          </c:extLst>
        </c:ser>
        <c:ser>
          <c:idx val="6"/>
          <c:order val="5"/>
          <c:tx>
            <c:v>grupa 6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xVal>
            <c:numRef>
              <c:f>'pca1-3'!$N$2:$N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0.32764295936656601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0.35536424503772601</c:v>
                </c:pt>
                <c:pt idx="27">
                  <c:v>-2</c:v>
                </c:pt>
                <c:pt idx="28">
                  <c:v>-2</c:v>
                </c:pt>
                <c:pt idx="29">
                  <c:v>-0.57202676063039604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0.35575774373544</c:v>
                </c:pt>
                <c:pt idx="80">
                  <c:v>-2</c:v>
                </c:pt>
                <c:pt idx="81">
                  <c:v>-0.51200787187087904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0.34137490163374801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-0.299395019989875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0.36597371177413701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0.49283367898707597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-0.288301824777835</c:v>
                </c:pt>
                <c:pt idx="240">
                  <c:v>-0.269323397410837</c:v>
                </c:pt>
                <c:pt idx="241">
                  <c:v>-0.306754201703623</c:v>
                </c:pt>
                <c:pt idx="242">
                  <c:v>-2</c:v>
                </c:pt>
                <c:pt idx="243">
                  <c:v>-2</c:v>
                </c:pt>
                <c:pt idx="244">
                  <c:v>-0.31459074645294599</c:v>
                </c:pt>
                <c:pt idx="245">
                  <c:v>-2</c:v>
                </c:pt>
                <c:pt idx="246">
                  <c:v>-0.55544547850403003</c:v>
                </c:pt>
                <c:pt idx="247">
                  <c:v>-2</c:v>
                </c:pt>
                <c:pt idx="248">
                  <c:v>-0.36794835355391498</c:v>
                </c:pt>
                <c:pt idx="249">
                  <c:v>-0.302865392658206</c:v>
                </c:pt>
                <c:pt idx="250">
                  <c:v>-0.32602980709338097</c:v>
                </c:pt>
                <c:pt idx="251">
                  <c:v>-0.297746157248647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0.20326051951399399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0.51202623118524604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0.38666329216027101</c:v>
                </c:pt>
                <c:pt idx="304">
                  <c:v>-0.50041578464608805</c:v>
                </c:pt>
                <c:pt idx="305">
                  <c:v>-0.22009650808175801</c:v>
                </c:pt>
                <c:pt idx="306">
                  <c:v>-0.45636100402666702</c:v>
                </c:pt>
                <c:pt idx="307">
                  <c:v>-0.464286509745511</c:v>
                </c:pt>
                <c:pt idx="308">
                  <c:v>-0.62000545639696003</c:v>
                </c:pt>
                <c:pt idx="309">
                  <c:v>-0.23130724914675499</c:v>
                </c:pt>
                <c:pt idx="310">
                  <c:v>-0.56105644472993199</c:v>
                </c:pt>
                <c:pt idx="311">
                  <c:v>-0.32052923205974398</c:v>
                </c:pt>
                <c:pt idx="312">
                  <c:v>-0.386397501549191</c:v>
                </c:pt>
                <c:pt idx="313">
                  <c:v>-0.28412596846606702</c:v>
                </c:pt>
                <c:pt idx="314">
                  <c:v>-2</c:v>
                </c:pt>
                <c:pt idx="315">
                  <c:v>-0.39074373973808502</c:v>
                </c:pt>
                <c:pt idx="316">
                  <c:v>-2</c:v>
                </c:pt>
                <c:pt idx="317">
                  <c:v>-0.24939143891579499</c:v>
                </c:pt>
                <c:pt idx="318">
                  <c:v>-0.33110000658063399</c:v>
                </c:pt>
                <c:pt idx="319">
                  <c:v>-2</c:v>
                </c:pt>
                <c:pt idx="320">
                  <c:v>-0.75084108275485595</c:v>
                </c:pt>
                <c:pt idx="321">
                  <c:v>-0.42997556588192398</c:v>
                </c:pt>
                <c:pt idx="322">
                  <c:v>-2</c:v>
                </c:pt>
                <c:pt idx="323">
                  <c:v>-0.25081366518051301</c:v>
                </c:pt>
                <c:pt idx="324">
                  <c:v>-0.29659129988500899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-0.3305086904243830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0.36635258273365301</c:v>
                </c:pt>
                <c:pt idx="335">
                  <c:v>-2</c:v>
                </c:pt>
                <c:pt idx="336">
                  <c:v>-2</c:v>
                </c:pt>
                <c:pt idx="337">
                  <c:v>-0.22491049363926899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-0.32228817887035399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-0.45754658060141801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0.34044265049130201</c:v>
                </c:pt>
                <c:pt idx="358">
                  <c:v>-2</c:v>
                </c:pt>
                <c:pt idx="359">
                  <c:v>-0.32895949328665902</c:v>
                </c:pt>
                <c:pt idx="360">
                  <c:v>-0.30080642383400003</c:v>
                </c:pt>
                <c:pt idx="361">
                  <c:v>-0.288210951757922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-0.42001062514571802</c:v>
                </c:pt>
                <c:pt idx="367">
                  <c:v>-2</c:v>
                </c:pt>
                <c:pt idx="368">
                  <c:v>-0.20085000870894501</c:v>
                </c:pt>
                <c:pt idx="369">
                  <c:v>-2</c:v>
                </c:pt>
                <c:pt idx="370">
                  <c:v>-0.22541534503472799</c:v>
                </c:pt>
                <c:pt idx="371">
                  <c:v>-2</c:v>
                </c:pt>
                <c:pt idx="372">
                  <c:v>-0.308743607723794</c:v>
                </c:pt>
                <c:pt idx="373">
                  <c:v>-0.70418204449242305</c:v>
                </c:pt>
                <c:pt idx="374">
                  <c:v>-0.20855379180682401</c:v>
                </c:pt>
                <c:pt idx="375">
                  <c:v>-2</c:v>
                </c:pt>
                <c:pt idx="376">
                  <c:v>-2</c:v>
                </c:pt>
                <c:pt idx="377">
                  <c:v>-0.34126919097970898</c:v>
                </c:pt>
                <c:pt idx="378">
                  <c:v>-2</c:v>
                </c:pt>
                <c:pt idx="379">
                  <c:v>-0.36510838014478503</c:v>
                </c:pt>
              </c:numCache>
            </c:numRef>
          </c:xVal>
          <c:yVal>
            <c:numRef>
              <c:f>'pca1-3'!$O$2:$O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0.25948949128861798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0.37024758189517099</c:v>
                </c:pt>
                <c:pt idx="27">
                  <c:v>-2</c:v>
                </c:pt>
                <c:pt idx="28">
                  <c:v>-2</c:v>
                </c:pt>
                <c:pt idx="29">
                  <c:v>0.33754152012935301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0.20550799681956899</c:v>
                </c:pt>
                <c:pt idx="80">
                  <c:v>-2</c:v>
                </c:pt>
                <c:pt idx="81">
                  <c:v>0.186636133676297</c:v>
                </c:pt>
                <c:pt idx="82">
                  <c:v>-2</c:v>
                </c:pt>
                <c:pt idx="83">
                  <c:v>-2</c:v>
                </c:pt>
                <c:pt idx="84">
                  <c:v>-2</c:v>
                </c:pt>
                <c:pt idx="85">
                  <c:v>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6.9959689538477698E-2</c:v>
                </c:pt>
                <c:pt idx="176">
                  <c:v>-2</c:v>
                </c:pt>
                <c:pt idx="177">
                  <c:v>-2</c:v>
                </c:pt>
                <c:pt idx="178">
                  <c:v>-2</c:v>
                </c:pt>
                <c:pt idx="179">
                  <c:v>0.26403684822745599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0.13155820936478799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4.6019868173372398E-2</c:v>
                </c:pt>
                <c:pt idx="236">
                  <c:v>-2</c:v>
                </c:pt>
                <c:pt idx="237">
                  <c:v>-2</c:v>
                </c:pt>
                <c:pt idx="238">
                  <c:v>-2</c:v>
                </c:pt>
                <c:pt idx="239">
                  <c:v>1.48414700402455E-2</c:v>
                </c:pt>
                <c:pt idx="240">
                  <c:v>0.152860956782508</c:v>
                </c:pt>
                <c:pt idx="241">
                  <c:v>0.10928794175279399</c:v>
                </c:pt>
                <c:pt idx="242">
                  <c:v>-2</c:v>
                </c:pt>
                <c:pt idx="243">
                  <c:v>-2</c:v>
                </c:pt>
                <c:pt idx="244">
                  <c:v>0.10425999149948401</c:v>
                </c:pt>
                <c:pt idx="245">
                  <c:v>-2</c:v>
                </c:pt>
                <c:pt idx="246">
                  <c:v>0.148792920409381</c:v>
                </c:pt>
                <c:pt idx="247">
                  <c:v>-2</c:v>
                </c:pt>
                <c:pt idx="248">
                  <c:v>2.4456308433424199E-2</c:v>
                </c:pt>
                <c:pt idx="249">
                  <c:v>6.4537603976007898E-2</c:v>
                </c:pt>
                <c:pt idx="250">
                  <c:v>7.3817046421904398E-2</c:v>
                </c:pt>
                <c:pt idx="251">
                  <c:v>0.101053594697394</c:v>
                </c:pt>
                <c:pt idx="252">
                  <c:v>-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2.81216255015748E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5.25137949581911E-4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3.2952754727508901E-2</c:v>
                </c:pt>
                <c:pt idx="304">
                  <c:v>0.150140290793916</c:v>
                </c:pt>
                <c:pt idx="305">
                  <c:v>0.15125415341447601</c:v>
                </c:pt>
                <c:pt idx="306">
                  <c:v>9.8368206900292798E-2</c:v>
                </c:pt>
                <c:pt idx="307">
                  <c:v>0.16644381332559399</c:v>
                </c:pt>
                <c:pt idx="308">
                  <c:v>5.1363925686070601E-2</c:v>
                </c:pt>
                <c:pt idx="309">
                  <c:v>0.156884782259718</c:v>
                </c:pt>
                <c:pt idx="310">
                  <c:v>0.18984185823896299</c:v>
                </c:pt>
                <c:pt idx="311">
                  <c:v>9.6378067064068401E-2</c:v>
                </c:pt>
                <c:pt idx="312">
                  <c:v>0.112260021252324</c:v>
                </c:pt>
                <c:pt idx="313">
                  <c:v>0.24140771076015599</c:v>
                </c:pt>
                <c:pt idx="314">
                  <c:v>-2</c:v>
                </c:pt>
                <c:pt idx="315">
                  <c:v>7.2516998306680999E-2</c:v>
                </c:pt>
                <c:pt idx="316">
                  <c:v>-2</c:v>
                </c:pt>
                <c:pt idx="317">
                  <c:v>0.227902075308201</c:v>
                </c:pt>
                <c:pt idx="318">
                  <c:v>4.1076407343820197E-2</c:v>
                </c:pt>
                <c:pt idx="319">
                  <c:v>-2</c:v>
                </c:pt>
                <c:pt idx="320">
                  <c:v>2.41082084518097E-2</c:v>
                </c:pt>
                <c:pt idx="321">
                  <c:v>0.12152109828112199</c:v>
                </c:pt>
                <c:pt idx="322">
                  <c:v>-2</c:v>
                </c:pt>
                <c:pt idx="323">
                  <c:v>0.178996488264796</c:v>
                </c:pt>
                <c:pt idx="324">
                  <c:v>0.124346105979876</c:v>
                </c:pt>
                <c:pt idx="325">
                  <c:v>-2</c:v>
                </c:pt>
                <c:pt idx="326">
                  <c:v>-2</c:v>
                </c:pt>
                <c:pt idx="327">
                  <c:v>-2</c:v>
                </c:pt>
                <c:pt idx="328">
                  <c:v>-2</c:v>
                </c:pt>
                <c:pt idx="329">
                  <c:v>3.85614088541852E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0.19149148033350899</c:v>
                </c:pt>
                <c:pt idx="335">
                  <c:v>-2</c:v>
                </c:pt>
                <c:pt idx="336">
                  <c:v>-2</c:v>
                </c:pt>
                <c:pt idx="337">
                  <c:v>0.16347106008548801</c:v>
                </c:pt>
                <c:pt idx="338">
                  <c:v>-2</c:v>
                </c:pt>
                <c:pt idx="339">
                  <c:v>-2</c:v>
                </c:pt>
                <c:pt idx="340">
                  <c:v>-2</c:v>
                </c:pt>
                <c:pt idx="341">
                  <c:v>-2</c:v>
                </c:pt>
                <c:pt idx="342">
                  <c:v>4.6070165077827803E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2</c:v>
                </c:pt>
                <c:pt idx="348">
                  <c:v>-2</c:v>
                </c:pt>
                <c:pt idx="349">
                  <c:v>0.22402058282100901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3.5517405019382303E-2</c:v>
                </c:pt>
                <c:pt idx="358">
                  <c:v>-2</c:v>
                </c:pt>
                <c:pt idx="359">
                  <c:v>0.31305904472816298</c:v>
                </c:pt>
                <c:pt idx="360">
                  <c:v>0.19493812225284499</c:v>
                </c:pt>
                <c:pt idx="361">
                  <c:v>0.17177821215667899</c:v>
                </c:pt>
                <c:pt idx="362">
                  <c:v>-2</c:v>
                </c:pt>
                <c:pt idx="363">
                  <c:v>-2</c:v>
                </c:pt>
                <c:pt idx="364">
                  <c:v>-2</c:v>
                </c:pt>
                <c:pt idx="365">
                  <c:v>-2</c:v>
                </c:pt>
                <c:pt idx="366">
                  <c:v>0.404884371913734</c:v>
                </c:pt>
                <c:pt idx="367">
                  <c:v>-2</c:v>
                </c:pt>
                <c:pt idx="368">
                  <c:v>0.12357822074653201</c:v>
                </c:pt>
                <c:pt idx="369">
                  <c:v>-2</c:v>
                </c:pt>
                <c:pt idx="370">
                  <c:v>0.109422935248501</c:v>
                </c:pt>
                <c:pt idx="371">
                  <c:v>-2</c:v>
                </c:pt>
                <c:pt idx="372">
                  <c:v>0.16506072371055799</c:v>
                </c:pt>
                <c:pt idx="373">
                  <c:v>0.124125587656152</c:v>
                </c:pt>
                <c:pt idx="374">
                  <c:v>0.20359353677598099</c:v>
                </c:pt>
                <c:pt idx="375">
                  <c:v>-2</c:v>
                </c:pt>
                <c:pt idx="376">
                  <c:v>-2</c:v>
                </c:pt>
                <c:pt idx="377">
                  <c:v>0.147022916832179</c:v>
                </c:pt>
                <c:pt idx="378">
                  <c:v>-2</c:v>
                </c:pt>
                <c:pt idx="379">
                  <c:v>0.15606632212727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A329-40AF-AA0F-F8707F4524E1}"/>
            </c:ext>
          </c:extLst>
        </c:ser>
        <c:ser>
          <c:idx val="7"/>
          <c:order val="6"/>
          <c:tx>
            <c:v>grupa 7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xVal>
            <c:numRef>
              <c:f>'pca1-3'!$P$2:$P$381</c:f>
              <c:numCache>
                <c:formatCode>General</c:formatCode>
                <c:ptCount val="380"/>
                <c:pt idx="0">
                  <c:v>-0.118647384738072</c:v>
                </c:pt>
                <c:pt idx="1">
                  <c:v>-2</c:v>
                </c:pt>
                <c:pt idx="2">
                  <c:v>-0.12514873815963701</c:v>
                </c:pt>
                <c:pt idx="3">
                  <c:v>-0.18644961772309601</c:v>
                </c:pt>
                <c:pt idx="4">
                  <c:v>-0.106915450123702</c:v>
                </c:pt>
                <c:pt idx="5">
                  <c:v>-6.5999901657353102E-2</c:v>
                </c:pt>
                <c:pt idx="6">
                  <c:v>-0.109188692497623</c:v>
                </c:pt>
                <c:pt idx="7">
                  <c:v>-4.6026480821143301E-2</c:v>
                </c:pt>
                <c:pt idx="8">
                  <c:v>-2.9222198855971101E-2</c:v>
                </c:pt>
                <c:pt idx="9">
                  <c:v>-0.13552063949667101</c:v>
                </c:pt>
                <c:pt idx="10">
                  <c:v>-2</c:v>
                </c:pt>
                <c:pt idx="11">
                  <c:v>-2</c:v>
                </c:pt>
                <c:pt idx="12">
                  <c:v>-0.140727649585044</c:v>
                </c:pt>
                <c:pt idx="13">
                  <c:v>-0.302438346498966</c:v>
                </c:pt>
                <c:pt idx="14">
                  <c:v>-3.67819027131807E-2</c:v>
                </c:pt>
                <c:pt idx="15">
                  <c:v>-0.14918146345662101</c:v>
                </c:pt>
                <c:pt idx="16">
                  <c:v>-7.7794441126436104E-2</c:v>
                </c:pt>
                <c:pt idx="17">
                  <c:v>-2</c:v>
                </c:pt>
                <c:pt idx="18">
                  <c:v>-9.9415961462190394E-2</c:v>
                </c:pt>
                <c:pt idx="19">
                  <c:v>-2</c:v>
                </c:pt>
                <c:pt idx="20">
                  <c:v>-2</c:v>
                </c:pt>
                <c:pt idx="21">
                  <c:v>-0.27420122429581001</c:v>
                </c:pt>
                <c:pt idx="22">
                  <c:v>-2</c:v>
                </c:pt>
                <c:pt idx="23">
                  <c:v>-2.3239220138288699E-3</c:v>
                </c:pt>
                <c:pt idx="24">
                  <c:v>-0.157167613131595</c:v>
                </c:pt>
                <c:pt idx="25">
                  <c:v>-9.6198721717156294E-2</c:v>
                </c:pt>
                <c:pt idx="26">
                  <c:v>-2</c:v>
                </c:pt>
                <c:pt idx="27">
                  <c:v>-0.29314331697037699</c:v>
                </c:pt>
                <c:pt idx="28">
                  <c:v>-0.18200065082851699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-0.26997346471891598</c:v>
                </c:pt>
                <c:pt idx="84">
                  <c:v>-2</c:v>
                </c:pt>
                <c:pt idx="85">
                  <c:v>-4.08553996337922E-2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-0.18934458545893401</c:v>
                </c:pt>
                <c:pt idx="179">
                  <c:v>-2</c:v>
                </c:pt>
                <c:pt idx="180">
                  <c:v>-0.15832908306884899</c:v>
                </c:pt>
                <c:pt idx="181">
                  <c:v>-0.19095438492238401</c:v>
                </c:pt>
                <c:pt idx="182">
                  <c:v>-0.22216412806927199</c:v>
                </c:pt>
                <c:pt idx="183">
                  <c:v>-0.14226671280354</c:v>
                </c:pt>
                <c:pt idx="184">
                  <c:v>-0.23307611488336399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9.5315132983364498E-2</c:v>
                </c:pt>
                <c:pt idx="190">
                  <c:v>-0.223720156839365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-0.118190552747553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-7.5909624542043905E-2</c:v>
                </c:pt>
                <c:pt idx="244">
                  <c:v>-2</c:v>
                </c:pt>
                <c:pt idx="245">
                  <c:v>-3.5262131317811397E-2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0.29199608411124001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0.13524075837859201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-0.159097550675077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-0.19242362434768401</c:v>
                </c:pt>
                <c:pt idx="336">
                  <c:v>-2</c:v>
                </c:pt>
                <c:pt idx="337">
                  <c:v>-2</c:v>
                </c:pt>
                <c:pt idx="338">
                  <c:v>-0.10401145740305399</c:v>
                </c:pt>
                <c:pt idx="339">
                  <c:v>-2</c:v>
                </c:pt>
                <c:pt idx="340">
                  <c:v>-2</c:v>
                </c:pt>
                <c:pt idx="341">
                  <c:v>-0.15329739424091199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-7.1651505171388893E-2</c:v>
                </c:pt>
                <c:pt idx="348">
                  <c:v>-0.112613238025596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0.12967688754005999</c:v>
                </c:pt>
                <c:pt idx="363">
                  <c:v>-2</c:v>
                </c:pt>
                <c:pt idx="364">
                  <c:v>-2</c:v>
                </c:pt>
                <c:pt idx="365">
                  <c:v>-6.3846422937932398E-2</c:v>
                </c:pt>
                <c:pt idx="366">
                  <c:v>-2</c:v>
                </c:pt>
                <c:pt idx="367">
                  <c:v>-2.6599134891282898E-3</c:v>
                </c:pt>
                <c:pt idx="368">
                  <c:v>-2</c:v>
                </c:pt>
                <c:pt idx="369">
                  <c:v>-0.14385007150364801</c:v>
                </c:pt>
                <c:pt idx="370">
                  <c:v>-2</c:v>
                </c:pt>
                <c:pt idx="371">
                  <c:v>-0.15067375514245199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xVal>
          <c:yVal>
            <c:numRef>
              <c:f>'pca1-3'!$Q$2:$Q$381</c:f>
              <c:numCache>
                <c:formatCode>General</c:formatCode>
                <c:ptCount val="380"/>
                <c:pt idx="0">
                  <c:v>0.55415374060418698</c:v>
                </c:pt>
                <c:pt idx="1">
                  <c:v>-2</c:v>
                </c:pt>
                <c:pt idx="2">
                  <c:v>0.38372472894180498</c:v>
                </c:pt>
                <c:pt idx="3">
                  <c:v>0.57042856073270598</c:v>
                </c:pt>
                <c:pt idx="4">
                  <c:v>0.40175361882782401</c:v>
                </c:pt>
                <c:pt idx="5">
                  <c:v>0.58834991907136203</c:v>
                </c:pt>
                <c:pt idx="6">
                  <c:v>0.39002279087817099</c:v>
                </c:pt>
                <c:pt idx="7">
                  <c:v>0.40157046842195498</c:v>
                </c:pt>
                <c:pt idx="8">
                  <c:v>0.38876736869087503</c:v>
                </c:pt>
                <c:pt idx="9">
                  <c:v>0.34663161411391202</c:v>
                </c:pt>
                <c:pt idx="10">
                  <c:v>-2</c:v>
                </c:pt>
                <c:pt idx="11">
                  <c:v>-2</c:v>
                </c:pt>
                <c:pt idx="12">
                  <c:v>0.56730333595886195</c:v>
                </c:pt>
                <c:pt idx="13">
                  <c:v>0.37008564878805</c:v>
                </c:pt>
                <c:pt idx="14">
                  <c:v>0.50324850434081503</c:v>
                </c:pt>
                <c:pt idx="15">
                  <c:v>0.51042191180216201</c:v>
                </c:pt>
                <c:pt idx="16">
                  <c:v>0.35897546405499098</c:v>
                </c:pt>
                <c:pt idx="17">
                  <c:v>-2</c:v>
                </c:pt>
                <c:pt idx="18">
                  <c:v>0.465355429452735</c:v>
                </c:pt>
                <c:pt idx="19">
                  <c:v>-2</c:v>
                </c:pt>
                <c:pt idx="20">
                  <c:v>-2</c:v>
                </c:pt>
                <c:pt idx="21">
                  <c:v>0.47958364196874298</c:v>
                </c:pt>
                <c:pt idx="22">
                  <c:v>-2</c:v>
                </c:pt>
                <c:pt idx="23">
                  <c:v>0.35287953024693802</c:v>
                </c:pt>
                <c:pt idx="24">
                  <c:v>0.50316586061769297</c:v>
                </c:pt>
                <c:pt idx="25">
                  <c:v>0.50049778367758202</c:v>
                </c:pt>
                <c:pt idx="26">
                  <c:v>-2</c:v>
                </c:pt>
                <c:pt idx="27">
                  <c:v>0.37139870611321901</c:v>
                </c:pt>
                <c:pt idx="28">
                  <c:v>0.4101979932673440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2</c:v>
                </c:pt>
                <c:pt idx="76">
                  <c:v>-2</c:v>
                </c:pt>
                <c:pt idx="77">
                  <c:v>-2</c:v>
                </c:pt>
                <c:pt idx="78">
                  <c:v>-2</c:v>
                </c:pt>
                <c:pt idx="79">
                  <c:v>-2</c:v>
                </c:pt>
                <c:pt idx="80">
                  <c:v>-2</c:v>
                </c:pt>
                <c:pt idx="81">
                  <c:v>-2</c:v>
                </c:pt>
                <c:pt idx="82">
                  <c:v>-2</c:v>
                </c:pt>
                <c:pt idx="83">
                  <c:v>0.39476763563202399</c:v>
                </c:pt>
                <c:pt idx="84">
                  <c:v>-2</c:v>
                </c:pt>
                <c:pt idx="85">
                  <c:v>0.20404473131759801</c:v>
                </c:pt>
                <c:pt idx="86">
                  <c:v>-2</c:v>
                </c:pt>
                <c:pt idx="87">
                  <c:v>-2</c:v>
                </c:pt>
                <c:pt idx="88">
                  <c:v>-2</c:v>
                </c:pt>
                <c:pt idx="89">
                  <c:v>-2</c:v>
                </c:pt>
                <c:pt idx="90">
                  <c:v>-2</c:v>
                </c:pt>
                <c:pt idx="91">
                  <c:v>-2</c:v>
                </c:pt>
                <c:pt idx="92">
                  <c:v>-2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2</c:v>
                </c:pt>
                <c:pt idx="110">
                  <c:v>-2</c:v>
                </c:pt>
                <c:pt idx="111">
                  <c:v>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-2</c:v>
                </c:pt>
                <c:pt idx="175">
                  <c:v>-2</c:v>
                </c:pt>
                <c:pt idx="176">
                  <c:v>-2</c:v>
                </c:pt>
                <c:pt idx="177">
                  <c:v>-2</c:v>
                </c:pt>
                <c:pt idx="178">
                  <c:v>0.34897371029703</c:v>
                </c:pt>
                <c:pt idx="179">
                  <c:v>-2</c:v>
                </c:pt>
                <c:pt idx="180">
                  <c:v>0.26623928088452298</c:v>
                </c:pt>
                <c:pt idx="181">
                  <c:v>0.25368499314901399</c:v>
                </c:pt>
                <c:pt idx="182">
                  <c:v>0.32620299740752101</c:v>
                </c:pt>
                <c:pt idx="183">
                  <c:v>0.24522774046269499</c:v>
                </c:pt>
                <c:pt idx="184">
                  <c:v>0.32666735469726199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0.25708648233373299</c:v>
                </c:pt>
                <c:pt idx="190">
                  <c:v>0.30792078976734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2</c:v>
                </c:pt>
                <c:pt idx="234">
                  <c:v>-2</c:v>
                </c:pt>
                <c:pt idx="235">
                  <c:v>-2</c:v>
                </c:pt>
                <c:pt idx="236">
                  <c:v>0.33278022111211902</c:v>
                </c:pt>
                <c:pt idx="237">
                  <c:v>-2</c:v>
                </c:pt>
                <c:pt idx="238">
                  <c:v>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2</c:v>
                </c:pt>
                <c:pt idx="243">
                  <c:v>0.25611395351828098</c:v>
                </c:pt>
                <c:pt idx="244">
                  <c:v>-2</c:v>
                </c:pt>
                <c:pt idx="245">
                  <c:v>0.284660437062217</c:v>
                </c:pt>
                <c:pt idx="246">
                  <c:v>-2</c:v>
                </c:pt>
                <c:pt idx="247">
                  <c:v>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0.34076178985990302</c:v>
                </c:pt>
                <c:pt idx="253">
                  <c:v>-2</c:v>
                </c:pt>
                <c:pt idx="254">
                  <c:v>-2</c:v>
                </c:pt>
                <c:pt idx="255">
                  <c:v>-2</c:v>
                </c:pt>
                <c:pt idx="256">
                  <c:v>-2</c:v>
                </c:pt>
                <c:pt idx="257">
                  <c:v>-2</c:v>
                </c:pt>
                <c:pt idx="258">
                  <c:v>-2</c:v>
                </c:pt>
                <c:pt idx="259">
                  <c:v>-2</c:v>
                </c:pt>
                <c:pt idx="260">
                  <c:v>-2</c:v>
                </c:pt>
                <c:pt idx="261">
                  <c:v>-2</c:v>
                </c:pt>
                <c:pt idx="262">
                  <c:v>-2</c:v>
                </c:pt>
                <c:pt idx="263">
                  <c:v>-2</c:v>
                </c:pt>
                <c:pt idx="264">
                  <c:v>-2</c:v>
                </c:pt>
                <c:pt idx="265">
                  <c:v>-2</c:v>
                </c:pt>
                <c:pt idx="266">
                  <c:v>-2</c:v>
                </c:pt>
                <c:pt idx="267">
                  <c:v>-2</c:v>
                </c:pt>
                <c:pt idx="268">
                  <c:v>-2</c:v>
                </c:pt>
                <c:pt idx="269">
                  <c:v>-2</c:v>
                </c:pt>
                <c:pt idx="270">
                  <c:v>-2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0.20429407761288701</c:v>
                </c:pt>
                <c:pt idx="317">
                  <c:v>-2</c:v>
                </c:pt>
                <c:pt idx="318">
                  <c:v>-2</c:v>
                </c:pt>
                <c:pt idx="319">
                  <c:v>-2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-2</c:v>
                </c:pt>
                <c:pt idx="326">
                  <c:v>-2</c:v>
                </c:pt>
                <c:pt idx="327">
                  <c:v>0.27825076881399802</c:v>
                </c:pt>
                <c:pt idx="328">
                  <c:v>-2</c:v>
                </c:pt>
                <c:pt idx="329">
                  <c:v>-2</c:v>
                </c:pt>
                <c:pt idx="330">
                  <c:v>-2</c:v>
                </c:pt>
                <c:pt idx="331">
                  <c:v>-2</c:v>
                </c:pt>
                <c:pt idx="332">
                  <c:v>-2</c:v>
                </c:pt>
                <c:pt idx="333">
                  <c:v>-2</c:v>
                </c:pt>
                <c:pt idx="334">
                  <c:v>-2</c:v>
                </c:pt>
                <c:pt idx="335">
                  <c:v>0.221439191914195</c:v>
                </c:pt>
                <c:pt idx="336">
                  <c:v>-2</c:v>
                </c:pt>
                <c:pt idx="337">
                  <c:v>-2</c:v>
                </c:pt>
                <c:pt idx="338">
                  <c:v>0.20735132625629199</c:v>
                </c:pt>
                <c:pt idx="339">
                  <c:v>-2</c:v>
                </c:pt>
                <c:pt idx="340">
                  <c:v>-2</c:v>
                </c:pt>
                <c:pt idx="341">
                  <c:v>0.22951017911179999</c:v>
                </c:pt>
                <c:pt idx="342">
                  <c:v>-2</c:v>
                </c:pt>
                <c:pt idx="343">
                  <c:v>-2</c:v>
                </c:pt>
                <c:pt idx="344">
                  <c:v>-2</c:v>
                </c:pt>
                <c:pt idx="345">
                  <c:v>-2</c:v>
                </c:pt>
                <c:pt idx="346">
                  <c:v>-2</c:v>
                </c:pt>
                <c:pt idx="347">
                  <c:v>0.20901233054520399</c:v>
                </c:pt>
                <c:pt idx="348">
                  <c:v>0.21377433579862501</c:v>
                </c:pt>
                <c:pt idx="349">
                  <c:v>-2</c:v>
                </c:pt>
                <c:pt idx="350">
                  <c:v>-2</c:v>
                </c:pt>
                <c:pt idx="351">
                  <c:v>-2</c:v>
                </c:pt>
                <c:pt idx="352">
                  <c:v>-2</c:v>
                </c:pt>
                <c:pt idx="353">
                  <c:v>-2</c:v>
                </c:pt>
                <c:pt idx="354">
                  <c:v>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0.29493584069443601</c:v>
                </c:pt>
                <c:pt idx="363">
                  <c:v>-2</c:v>
                </c:pt>
                <c:pt idx="364">
                  <c:v>-2</c:v>
                </c:pt>
                <c:pt idx="365">
                  <c:v>0.28811512307909698</c:v>
                </c:pt>
                <c:pt idx="366">
                  <c:v>-2</c:v>
                </c:pt>
                <c:pt idx="367">
                  <c:v>0.34342954312841101</c:v>
                </c:pt>
                <c:pt idx="368">
                  <c:v>-2</c:v>
                </c:pt>
                <c:pt idx="369">
                  <c:v>0.20971755315794699</c:v>
                </c:pt>
                <c:pt idx="370">
                  <c:v>-2</c:v>
                </c:pt>
                <c:pt idx="371">
                  <c:v>0.211746323874973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2</c:v>
                </c:pt>
                <c:pt idx="377">
                  <c:v>-2</c:v>
                </c:pt>
                <c:pt idx="378">
                  <c:v>-2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A329-40AF-AA0F-F8707F4524E1}"/>
            </c:ext>
          </c:extLst>
        </c:ser>
        <c:ser>
          <c:idx val="0"/>
          <c:order val="7"/>
          <c:tx>
            <c:v>nieistotne</c:v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noFill/>
              <a:ln w="9525">
                <a:solidFill>
                  <a:schemeClr val="bg1">
                    <a:lumMod val="75000"/>
                  </a:schemeClr>
                </a:solidFill>
                <a:round/>
              </a:ln>
              <a:effectLst/>
            </c:spPr>
          </c:marker>
          <c:xVal>
            <c:numRef>
              <c:f>'pca1-3'!$R$2:$R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9.0053135338468995E-2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4.4642506718332302E-2</c:v>
                </c:pt>
                <c:pt idx="76">
                  <c:v>-2</c:v>
                </c:pt>
                <c:pt idx="77">
                  <c:v>-7.3738202618456997E-2</c:v>
                </c:pt>
                <c:pt idx="78">
                  <c:v>-2</c:v>
                </c:pt>
                <c:pt idx="79">
                  <c:v>-2</c:v>
                </c:pt>
                <c:pt idx="80">
                  <c:v>-0.17020768209996601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0.174301694957432</c:v>
                </c:pt>
                <c:pt idx="85">
                  <c:v>-2</c:v>
                </c:pt>
                <c:pt idx="86">
                  <c:v>-2</c:v>
                </c:pt>
                <c:pt idx="87">
                  <c:v>-0.17257360425784399</c:v>
                </c:pt>
                <c:pt idx="88">
                  <c:v>-0.16797154054968899</c:v>
                </c:pt>
                <c:pt idx="89">
                  <c:v>-2</c:v>
                </c:pt>
                <c:pt idx="90">
                  <c:v>-2</c:v>
                </c:pt>
                <c:pt idx="91">
                  <c:v>0.18784450107470199</c:v>
                </c:pt>
                <c:pt idx="92">
                  <c:v>0.16552934474089101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0.199535105861055</c:v>
                </c:pt>
                <c:pt idx="110">
                  <c:v>-2</c:v>
                </c:pt>
                <c:pt idx="111">
                  <c:v>8.1360373025748806E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9.0993594149658005E-2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-3.1777136149319402E-2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0.16051970147991401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5.89557372950116E-2</c:v>
                </c:pt>
                <c:pt idx="175">
                  <c:v>-2</c:v>
                </c:pt>
                <c:pt idx="176">
                  <c:v>-0.104973244866371</c:v>
                </c:pt>
                <c:pt idx="177">
                  <c:v>5.4253150436039198E-2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0.101694184086741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-0.157824496081865</c:v>
                </c:pt>
                <c:pt idx="234">
                  <c:v>-0.13656704918378701</c:v>
                </c:pt>
                <c:pt idx="235">
                  <c:v>-2</c:v>
                </c:pt>
                <c:pt idx="236">
                  <c:v>-2</c:v>
                </c:pt>
                <c:pt idx="237">
                  <c:v>-4.1737942188379701E-2</c:v>
                </c:pt>
                <c:pt idx="238">
                  <c:v>-9.2963773097231098E-3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-0.16462628885400399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3.2076993635780503E-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0.18093314155806001</c:v>
                </c:pt>
                <c:pt idx="255">
                  <c:v>7.4807823750804803E-2</c:v>
                </c:pt>
                <c:pt idx="256">
                  <c:v>0.18623750763580699</c:v>
                </c:pt>
                <c:pt idx="257">
                  <c:v>-2</c:v>
                </c:pt>
                <c:pt idx="258">
                  <c:v>0.12283809152262901</c:v>
                </c:pt>
                <c:pt idx="259">
                  <c:v>-9.7806079783998703E-2</c:v>
                </c:pt>
                <c:pt idx="260">
                  <c:v>-4.9072918695111899E-2</c:v>
                </c:pt>
                <c:pt idx="261">
                  <c:v>0.13427506916343801</c:v>
                </c:pt>
                <c:pt idx="262">
                  <c:v>-7.7986616011666093E-2</c:v>
                </c:pt>
                <c:pt idx="263">
                  <c:v>-0.14774941560942001</c:v>
                </c:pt>
                <c:pt idx="264">
                  <c:v>9.9736602234642396E-2</c:v>
                </c:pt>
                <c:pt idx="265">
                  <c:v>-9.8930895631438101E-2</c:v>
                </c:pt>
                <c:pt idx="266">
                  <c:v>-2</c:v>
                </c:pt>
                <c:pt idx="267">
                  <c:v>2.6031174316344202E-2</c:v>
                </c:pt>
                <c:pt idx="268">
                  <c:v>6.2944398110496402E-2</c:v>
                </c:pt>
                <c:pt idx="269">
                  <c:v>-2</c:v>
                </c:pt>
                <c:pt idx="270">
                  <c:v>-0.16315005573192501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8.8033215637057405E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-0.10996769236460199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6.1488019488740803E-2</c:v>
                </c:pt>
                <c:pt idx="326">
                  <c:v>-2</c:v>
                </c:pt>
                <c:pt idx="327">
                  <c:v>-2</c:v>
                </c:pt>
                <c:pt idx="328">
                  <c:v>4.5377021940924099E-2</c:v>
                </c:pt>
                <c:pt idx="329">
                  <c:v>-2</c:v>
                </c:pt>
                <c:pt idx="330">
                  <c:v>-2</c:v>
                </c:pt>
                <c:pt idx="331">
                  <c:v>-0.17438604330064</c:v>
                </c:pt>
                <c:pt idx="332">
                  <c:v>7.0443379617074794E-2</c:v>
                </c:pt>
                <c:pt idx="333">
                  <c:v>9.7006229831105698E-2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-5.5113694448455E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4.9879285914562997E-2</c:v>
                </c:pt>
                <c:pt idx="344">
                  <c:v>-2</c:v>
                </c:pt>
                <c:pt idx="345">
                  <c:v>-0.192073444945489</c:v>
                </c:pt>
                <c:pt idx="346">
                  <c:v>-8.6001943284643705E-3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-9.3981830522149395E-2</c:v>
                </c:pt>
                <c:pt idx="351">
                  <c:v>-0.18569720545489099</c:v>
                </c:pt>
                <c:pt idx="352">
                  <c:v>-0.114778261186619</c:v>
                </c:pt>
                <c:pt idx="353">
                  <c:v>-0.17691773403458999</c:v>
                </c:pt>
                <c:pt idx="354">
                  <c:v>-0.177616889525267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-0.12505280574926</c:v>
                </c:pt>
                <c:pt idx="364">
                  <c:v>-4.8904250826813399E-2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-3.2637358039497397E-2</c:v>
                </c:pt>
                <c:pt idx="377">
                  <c:v>-2</c:v>
                </c:pt>
                <c:pt idx="378">
                  <c:v>-0.131136612348628</c:v>
                </c:pt>
                <c:pt idx="379">
                  <c:v>-2</c:v>
                </c:pt>
              </c:numCache>
            </c:numRef>
          </c:xVal>
          <c:yVal>
            <c:numRef>
              <c:f>'pca1-3'!$S$2:$S$381</c:f>
              <c:numCache>
                <c:formatCode>General</c:formatCode>
                <c:ptCount val="380"/>
                <c:pt idx="0">
                  <c:v>-2</c:v>
                </c:pt>
                <c:pt idx="1">
                  <c:v>-2</c:v>
                </c:pt>
                <c:pt idx="2">
                  <c:v>-2</c:v>
                </c:pt>
                <c:pt idx="3">
                  <c:v>-2</c:v>
                </c:pt>
                <c:pt idx="4">
                  <c:v>-2</c:v>
                </c:pt>
                <c:pt idx="5">
                  <c:v>-2</c:v>
                </c:pt>
                <c:pt idx="6">
                  <c:v>-2</c:v>
                </c:pt>
                <c:pt idx="7">
                  <c:v>-2</c:v>
                </c:pt>
                <c:pt idx="8">
                  <c:v>-2</c:v>
                </c:pt>
                <c:pt idx="9">
                  <c:v>-2</c:v>
                </c:pt>
                <c:pt idx="10">
                  <c:v>-2</c:v>
                </c:pt>
                <c:pt idx="11">
                  <c:v>-2</c:v>
                </c:pt>
                <c:pt idx="12">
                  <c:v>-2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2</c:v>
                </c:pt>
                <c:pt idx="19">
                  <c:v>-2</c:v>
                </c:pt>
                <c:pt idx="20">
                  <c:v>-2</c:v>
                </c:pt>
                <c:pt idx="21">
                  <c:v>-2</c:v>
                </c:pt>
                <c:pt idx="22">
                  <c:v>-2</c:v>
                </c:pt>
                <c:pt idx="23">
                  <c:v>-2</c:v>
                </c:pt>
                <c:pt idx="24">
                  <c:v>-2</c:v>
                </c:pt>
                <c:pt idx="25">
                  <c:v>-2</c:v>
                </c:pt>
                <c:pt idx="26">
                  <c:v>-2</c:v>
                </c:pt>
                <c:pt idx="27">
                  <c:v>-2</c:v>
                </c:pt>
                <c:pt idx="28">
                  <c:v>-2</c:v>
                </c:pt>
                <c:pt idx="29">
                  <c:v>-2</c:v>
                </c:pt>
                <c:pt idx="30">
                  <c:v>-2</c:v>
                </c:pt>
                <c:pt idx="31">
                  <c:v>-2</c:v>
                </c:pt>
                <c:pt idx="32">
                  <c:v>-0.16001307551527399</c:v>
                </c:pt>
                <c:pt idx="33">
                  <c:v>-2</c:v>
                </c:pt>
                <c:pt idx="34">
                  <c:v>-2</c:v>
                </c:pt>
                <c:pt idx="35">
                  <c:v>-2</c:v>
                </c:pt>
                <c:pt idx="36">
                  <c:v>-2</c:v>
                </c:pt>
                <c:pt idx="37">
                  <c:v>-2</c:v>
                </c:pt>
                <c:pt idx="38">
                  <c:v>-2</c:v>
                </c:pt>
                <c:pt idx="39">
                  <c:v>-2</c:v>
                </c:pt>
                <c:pt idx="40">
                  <c:v>-2</c:v>
                </c:pt>
                <c:pt idx="41">
                  <c:v>-2</c:v>
                </c:pt>
                <c:pt idx="42">
                  <c:v>-2</c:v>
                </c:pt>
                <c:pt idx="43">
                  <c:v>-2</c:v>
                </c:pt>
                <c:pt idx="44">
                  <c:v>-2</c:v>
                </c:pt>
                <c:pt idx="45">
                  <c:v>-2</c:v>
                </c:pt>
                <c:pt idx="46">
                  <c:v>-2</c:v>
                </c:pt>
                <c:pt idx="47">
                  <c:v>-2</c:v>
                </c:pt>
                <c:pt idx="48">
                  <c:v>-2</c:v>
                </c:pt>
                <c:pt idx="49">
                  <c:v>-2</c:v>
                </c:pt>
                <c:pt idx="50">
                  <c:v>-2</c:v>
                </c:pt>
                <c:pt idx="51">
                  <c:v>-2</c:v>
                </c:pt>
                <c:pt idx="52">
                  <c:v>-2</c:v>
                </c:pt>
                <c:pt idx="53">
                  <c:v>-2</c:v>
                </c:pt>
                <c:pt idx="54">
                  <c:v>-2</c:v>
                </c:pt>
                <c:pt idx="55">
                  <c:v>-2</c:v>
                </c:pt>
                <c:pt idx="56">
                  <c:v>-2</c:v>
                </c:pt>
                <c:pt idx="57">
                  <c:v>-2</c:v>
                </c:pt>
                <c:pt idx="58">
                  <c:v>-2</c:v>
                </c:pt>
                <c:pt idx="59">
                  <c:v>-2</c:v>
                </c:pt>
                <c:pt idx="60">
                  <c:v>-2</c:v>
                </c:pt>
                <c:pt idx="61">
                  <c:v>-2</c:v>
                </c:pt>
                <c:pt idx="62">
                  <c:v>-2</c:v>
                </c:pt>
                <c:pt idx="63">
                  <c:v>-2</c:v>
                </c:pt>
                <c:pt idx="64">
                  <c:v>-2</c:v>
                </c:pt>
                <c:pt idx="65">
                  <c:v>-2</c:v>
                </c:pt>
                <c:pt idx="66">
                  <c:v>-2</c:v>
                </c:pt>
                <c:pt idx="67">
                  <c:v>-2</c:v>
                </c:pt>
                <c:pt idx="68">
                  <c:v>-2</c:v>
                </c:pt>
                <c:pt idx="69">
                  <c:v>-2</c:v>
                </c:pt>
                <c:pt idx="70">
                  <c:v>-2</c:v>
                </c:pt>
                <c:pt idx="71">
                  <c:v>-2</c:v>
                </c:pt>
                <c:pt idx="72">
                  <c:v>-2</c:v>
                </c:pt>
                <c:pt idx="73">
                  <c:v>-2</c:v>
                </c:pt>
                <c:pt idx="74">
                  <c:v>-2</c:v>
                </c:pt>
                <c:pt idx="75">
                  <c:v>-0.17749431087314199</c:v>
                </c:pt>
                <c:pt idx="76">
                  <c:v>-2</c:v>
                </c:pt>
                <c:pt idx="77">
                  <c:v>0.19975299570126501</c:v>
                </c:pt>
                <c:pt idx="78">
                  <c:v>-2</c:v>
                </c:pt>
                <c:pt idx="79">
                  <c:v>-2</c:v>
                </c:pt>
                <c:pt idx="80">
                  <c:v>-2.0474007853117801E-2</c:v>
                </c:pt>
                <c:pt idx="81">
                  <c:v>-2</c:v>
                </c:pt>
                <c:pt idx="82">
                  <c:v>-2</c:v>
                </c:pt>
                <c:pt idx="83">
                  <c:v>-2</c:v>
                </c:pt>
                <c:pt idx="84">
                  <c:v>-0.105889517505317</c:v>
                </c:pt>
                <c:pt idx="85">
                  <c:v>-2</c:v>
                </c:pt>
                <c:pt idx="86">
                  <c:v>-2</c:v>
                </c:pt>
                <c:pt idx="87">
                  <c:v>1.08538400172766E-2</c:v>
                </c:pt>
                <c:pt idx="88">
                  <c:v>6.7237787062888493E-2</c:v>
                </c:pt>
                <c:pt idx="89">
                  <c:v>-2</c:v>
                </c:pt>
                <c:pt idx="90">
                  <c:v>-2</c:v>
                </c:pt>
                <c:pt idx="91">
                  <c:v>-0.120518092034636</c:v>
                </c:pt>
                <c:pt idx="92">
                  <c:v>-0.12933203938526899</c:v>
                </c:pt>
                <c:pt idx="93">
                  <c:v>-2</c:v>
                </c:pt>
                <c:pt idx="94">
                  <c:v>-2</c:v>
                </c:pt>
                <c:pt idx="95">
                  <c:v>-2</c:v>
                </c:pt>
                <c:pt idx="96">
                  <c:v>-2</c:v>
                </c:pt>
                <c:pt idx="97">
                  <c:v>-2</c:v>
                </c:pt>
                <c:pt idx="98">
                  <c:v>-2</c:v>
                </c:pt>
                <c:pt idx="99">
                  <c:v>-2</c:v>
                </c:pt>
                <c:pt idx="100">
                  <c:v>-2</c:v>
                </c:pt>
                <c:pt idx="101">
                  <c:v>-2</c:v>
                </c:pt>
                <c:pt idx="102">
                  <c:v>-2</c:v>
                </c:pt>
                <c:pt idx="103">
                  <c:v>-2</c:v>
                </c:pt>
                <c:pt idx="104">
                  <c:v>-2</c:v>
                </c:pt>
                <c:pt idx="105">
                  <c:v>-2</c:v>
                </c:pt>
                <c:pt idx="106">
                  <c:v>-2</c:v>
                </c:pt>
                <c:pt idx="107">
                  <c:v>-2</c:v>
                </c:pt>
                <c:pt idx="108">
                  <c:v>-2</c:v>
                </c:pt>
                <c:pt idx="109">
                  <c:v>-0.18609840041679401</c:v>
                </c:pt>
                <c:pt idx="110">
                  <c:v>-2</c:v>
                </c:pt>
                <c:pt idx="111">
                  <c:v>-6.2651045335885502E-2</c:v>
                </c:pt>
                <c:pt idx="112">
                  <c:v>-2</c:v>
                </c:pt>
                <c:pt idx="113">
                  <c:v>-2</c:v>
                </c:pt>
                <c:pt idx="114">
                  <c:v>-2</c:v>
                </c:pt>
                <c:pt idx="115">
                  <c:v>-2</c:v>
                </c:pt>
                <c:pt idx="116">
                  <c:v>-2</c:v>
                </c:pt>
                <c:pt idx="117">
                  <c:v>-2</c:v>
                </c:pt>
                <c:pt idx="118">
                  <c:v>-2</c:v>
                </c:pt>
                <c:pt idx="119">
                  <c:v>-2</c:v>
                </c:pt>
                <c:pt idx="120">
                  <c:v>-2</c:v>
                </c:pt>
                <c:pt idx="121">
                  <c:v>-2</c:v>
                </c:pt>
                <c:pt idx="122">
                  <c:v>-2</c:v>
                </c:pt>
                <c:pt idx="123">
                  <c:v>-2</c:v>
                </c:pt>
                <c:pt idx="124">
                  <c:v>-2</c:v>
                </c:pt>
                <c:pt idx="125">
                  <c:v>-2</c:v>
                </c:pt>
                <c:pt idx="126">
                  <c:v>-2</c:v>
                </c:pt>
                <c:pt idx="127">
                  <c:v>-2</c:v>
                </c:pt>
                <c:pt idx="128">
                  <c:v>-2</c:v>
                </c:pt>
                <c:pt idx="129">
                  <c:v>-2</c:v>
                </c:pt>
                <c:pt idx="130">
                  <c:v>-2</c:v>
                </c:pt>
                <c:pt idx="131">
                  <c:v>-2</c:v>
                </c:pt>
                <c:pt idx="132">
                  <c:v>-2</c:v>
                </c:pt>
                <c:pt idx="133">
                  <c:v>-2</c:v>
                </c:pt>
                <c:pt idx="134">
                  <c:v>-0.18891237961197699</c:v>
                </c:pt>
                <c:pt idx="135">
                  <c:v>-2</c:v>
                </c:pt>
                <c:pt idx="136">
                  <c:v>-2</c:v>
                </c:pt>
                <c:pt idx="137">
                  <c:v>-2</c:v>
                </c:pt>
                <c:pt idx="138">
                  <c:v>0.17068800140621401</c:v>
                </c:pt>
                <c:pt idx="139">
                  <c:v>-2</c:v>
                </c:pt>
                <c:pt idx="140">
                  <c:v>-2</c:v>
                </c:pt>
                <c:pt idx="141">
                  <c:v>-2</c:v>
                </c:pt>
                <c:pt idx="142">
                  <c:v>-2</c:v>
                </c:pt>
                <c:pt idx="143">
                  <c:v>-2</c:v>
                </c:pt>
                <c:pt idx="144">
                  <c:v>-2</c:v>
                </c:pt>
                <c:pt idx="145">
                  <c:v>-2</c:v>
                </c:pt>
                <c:pt idx="146">
                  <c:v>-2</c:v>
                </c:pt>
                <c:pt idx="147">
                  <c:v>-2</c:v>
                </c:pt>
                <c:pt idx="148">
                  <c:v>-2</c:v>
                </c:pt>
                <c:pt idx="149">
                  <c:v>-2</c:v>
                </c:pt>
                <c:pt idx="150">
                  <c:v>-2</c:v>
                </c:pt>
                <c:pt idx="151">
                  <c:v>-2</c:v>
                </c:pt>
                <c:pt idx="152">
                  <c:v>-2</c:v>
                </c:pt>
                <c:pt idx="153">
                  <c:v>-2</c:v>
                </c:pt>
                <c:pt idx="154">
                  <c:v>-2</c:v>
                </c:pt>
                <c:pt idx="155">
                  <c:v>-2</c:v>
                </c:pt>
                <c:pt idx="156">
                  <c:v>-2</c:v>
                </c:pt>
                <c:pt idx="157">
                  <c:v>-2</c:v>
                </c:pt>
                <c:pt idx="158">
                  <c:v>-2</c:v>
                </c:pt>
                <c:pt idx="159">
                  <c:v>-2</c:v>
                </c:pt>
                <c:pt idx="160">
                  <c:v>-2</c:v>
                </c:pt>
                <c:pt idx="161">
                  <c:v>-2</c:v>
                </c:pt>
                <c:pt idx="162">
                  <c:v>-2</c:v>
                </c:pt>
                <c:pt idx="163">
                  <c:v>-2</c:v>
                </c:pt>
                <c:pt idx="164">
                  <c:v>-2</c:v>
                </c:pt>
                <c:pt idx="165">
                  <c:v>-2</c:v>
                </c:pt>
                <c:pt idx="166">
                  <c:v>-2.6314430303282801E-2</c:v>
                </c:pt>
                <c:pt idx="167">
                  <c:v>-2</c:v>
                </c:pt>
                <c:pt idx="168">
                  <c:v>-2</c:v>
                </c:pt>
                <c:pt idx="169">
                  <c:v>-2</c:v>
                </c:pt>
                <c:pt idx="170">
                  <c:v>-2</c:v>
                </c:pt>
                <c:pt idx="171">
                  <c:v>-2</c:v>
                </c:pt>
                <c:pt idx="172">
                  <c:v>-2</c:v>
                </c:pt>
                <c:pt idx="173">
                  <c:v>-2</c:v>
                </c:pt>
                <c:pt idx="174">
                  <c:v>0.12890665671172699</c:v>
                </c:pt>
                <c:pt idx="175">
                  <c:v>-2</c:v>
                </c:pt>
                <c:pt idx="176">
                  <c:v>1.4618638641080799E-2</c:v>
                </c:pt>
                <c:pt idx="177">
                  <c:v>0.122120203114334</c:v>
                </c:pt>
                <c:pt idx="178">
                  <c:v>-2</c:v>
                </c:pt>
                <c:pt idx="179">
                  <c:v>-2</c:v>
                </c:pt>
                <c:pt idx="180">
                  <c:v>-2</c:v>
                </c:pt>
                <c:pt idx="181">
                  <c:v>-2</c:v>
                </c:pt>
                <c:pt idx="182">
                  <c:v>-2</c:v>
                </c:pt>
                <c:pt idx="183">
                  <c:v>-2</c:v>
                </c:pt>
                <c:pt idx="184">
                  <c:v>-2</c:v>
                </c:pt>
                <c:pt idx="185">
                  <c:v>-2</c:v>
                </c:pt>
                <c:pt idx="186">
                  <c:v>-2</c:v>
                </c:pt>
                <c:pt idx="187">
                  <c:v>-2</c:v>
                </c:pt>
                <c:pt idx="188">
                  <c:v>-2</c:v>
                </c:pt>
                <c:pt idx="189">
                  <c:v>-2</c:v>
                </c:pt>
                <c:pt idx="190">
                  <c:v>-2</c:v>
                </c:pt>
                <c:pt idx="191">
                  <c:v>-2</c:v>
                </c:pt>
                <c:pt idx="192">
                  <c:v>-2</c:v>
                </c:pt>
                <c:pt idx="193">
                  <c:v>-2</c:v>
                </c:pt>
                <c:pt idx="194">
                  <c:v>-2</c:v>
                </c:pt>
                <c:pt idx="195">
                  <c:v>-2</c:v>
                </c:pt>
                <c:pt idx="196">
                  <c:v>-2</c:v>
                </c:pt>
                <c:pt idx="197">
                  <c:v>-2</c:v>
                </c:pt>
                <c:pt idx="198">
                  <c:v>-2</c:v>
                </c:pt>
                <c:pt idx="199">
                  <c:v>-2</c:v>
                </c:pt>
                <c:pt idx="200">
                  <c:v>-2</c:v>
                </c:pt>
                <c:pt idx="201">
                  <c:v>-2</c:v>
                </c:pt>
                <c:pt idx="202">
                  <c:v>-2</c:v>
                </c:pt>
                <c:pt idx="203">
                  <c:v>-2</c:v>
                </c:pt>
                <c:pt idx="204">
                  <c:v>-2</c:v>
                </c:pt>
                <c:pt idx="205">
                  <c:v>-2</c:v>
                </c:pt>
                <c:pt idx="206">
                  <c:v>-2</c:v>
                </c:pt>
                <c:pt idx="207">
                  <c:v>-2</c:v>
                </c:pt>
                <c:pt idx="208">
                  <c:v>-2</c:v>
                </c:pt>
                <c:pt idx="209">
                  <c:v>-2</c:v>
                </c:pt>
                <c:pt idx="210">
                  <c:v>-2</c:v>
                </c:pt>
                <c:pt idx="211">
                  <c:v>-2</c:v>
                </c:pt>
                <c:pt idx="212">
                  <c:v>-2</c:v>
                </c:pt>
                <c:pt idx="213">
                  <c:v>-2</c:v>
                </c:pt>
                <c:pt idx="214">
                  <c:v>-2</c:v>
                </c:pt>
                <c:pt idx="215">
                  <c:v>-2</c:v>
                </c:pt>
                <c:pt idx="216">
                  <c:v>-2</c:v>
                </c:pt>
                <c:pt idx="217">
                  <c:v>-2</c:v>
                </c:pt>
                <c:pt idx="218">
                  <c:v>-2</c:v>
                </c:pt>
                <c:pt idx="219">
                  <c:v>-2</c:v>
                </c:pt>
                <c:pt idx="220">
                  <c:v>-2</c:v>
                </c:pt>
                <c:pt idx="221">
                  <c:v>-2</c:v>
                </c:pt>
                <c:pt idx="222">
                  <c:v>-2</c:v>
                </c:pt>
                <c:pt idx="223">
                  <c:v>-2</c:v>
                </c:pt>
                <c:pt idx="224">
                  <c:v>-2</c:v>
                </c:pt>
                <c:pt idx="225">
                  <c:v>-2</c:v>
                </c:pt>
                <c:pt idx="226">
                  <c:v>-2</c:v>
                </c:pt>
                <c:pt idx="227">
                  <c:v>-2</c:v>
                </c:pt>
                <c:pt idx="228">
                  <c:v>-2</c:v>
                </c:pt>
                <c:pt idx="229">
                  <c:v>-2.26976674628394E-2</c:v>
                </c:pt>
                <c:pt idx="230">
                  <c:v>-2</c:v>
                </c:pt>
                <c:pt idx="231">
                  <c:v>-2</c:v>
                </c:pt>
                <c:pt idx="232">
                  <c:v>-2</c:v>
                </c:pt>
                <c:pt idx="233">
                  <c:v>2.6702475744133401E-2</c:v>
                </c:pt>
                <c:pt idx="234">
                  <c:v>5.2712034057320598E-2</c:v>
                </c:pt>
                <c:pt idx="235">
                  <c:v>-2</c:v>
                </c:pt>
                <c:pt idx="236">
                  <c:v>-2</c:v>
                </c:pt>
                <c:pt idx="237">
                  <c:v>0.19207955417045899</c:v>
                </c:pt>
                <c:pt idx="238">
                  <c:v>-4.6945769123617101E-2</c:v>
                </c:pt>
                <c:pt idx="239">
                  <c:v>-2</c:v>
                </c:pt>
                <c:pt idx="240">
                  <c:v>-2</c:v>
                </c:pt>
                <c:pt idx="241">
                  <c:v>-2</c:v>
                </c:pt>
                <c:pt idx="242">
                  <c:v>7.6107227648051806E-2</c:v>
                </c:pt>
                <c:pt idx="243">
                  <c:v>-2</c:v>
                </c:pt>
                <c:pt idx="244">
                  <c:v>-2</c:v>
                </c:pt>
                <c:pt idx="245">
                  <c:v>-2</c:v>
                </c:pt>
                <c:pt idx="246">
                  <c:v>-2</c:v>
                </c:pt>
                <c:pt idx="247">
                  <c:v>0.158952979290092</c:v>
                </c:pt>
                <c:pt idx="248">
                  <c:v>-2</c:v>
                </c:pt>
                <c:pt idx="249">
                  <c:v>-2</c:v>
                </c:pt>
                <c:pt idx="250">
                  <c:v>-2</c:v>
                </c:pt>
                <c:pt idx="251">
                  <c:v>-2</c:v>
                </c:pt>
                <c:pt idx="252">
                  <c:v>-2</c:v>
                </c:pt>
                <c:pt idx="253">
                  <c:v>-2</c:v>
                </c:pt>
                <c:pt idx="254">
                  <c:v>1.8536844516765599E-2</c:v>
                </c:pt>
                <c:pt idx="255">
                  <c:v>7.9003858971845899E-3</c:v>
                </c:pt>
                <c:pt idx="256">
                  <c:v>-5.9876563935462999E-2</c:v>
                </c:pt>
                <c:pt idx="257">
                  <c:v>-2</c:v>
                </c:pt>
                <c:pt idx="258">
                  <c:v>-8.5501686940100199E-2</c:v>
                </c:pt>
                <c:pt idx="259">
                  <c:v>-9.7642030073649706E-3</c:v>
                </c:pt>
                <c:pt idx="260">
                  <c:v>-9.0170904678192706E-2</c:v>
                </c:pt>
                <c:pt idx="261">
                  <c:v>-0.154286721525384</c:v>
                </c:pt>
                <c:pt idx="262">
                  <c:v>-4.4795934920532299E-2</c:v>
                </c:pt>
                <c:pt idx="263">
                  <c:v>-0.119586914444887</c:v>
                </c:pt>
                <c:pt idx="264">
                  <c:v>-5.7693017410156901E-2</c:v>
                </c:pt>
                <c:pt idx="265">
                  <c:v>7.10662741291989E-2</c:v>
                </c:pt>
                <c:pt idx="266">
                  <c:v>-2</c:v>
                </c:pt>
                <c:pt idx="267">
                  <c:v>-0.17676848824681601</c:v>
                </c:pt>
                <c:pt idx="268">
                  <c:v>-0.14317696053776799</c:v>
                </c:pt>
                <c:pt idx="269">
                  <c:v>-2</c:v>
                </c:pt>
                <c:pt idx="270">
                  <c:v>-0.106880093098007</c:v>
                </c:pt>
                <c:pt idx="271">
                  <c:v>-2</c:v>
                </c:pt>
                <c:pt idx="272">
                  <c:v>-2</c:v>
                </c:pt>
                <c:pt idx="273">
                  <c:v>-2</c:v>
                </c:pt>
                <c:pt idx="274">
                  <c:v>-2</c:v>
                </c:pt>
                <c:pt idx="275">
                  <c:v>-2</c:v>
                </c:pt>
                <c:pt idx="276">
                  <c:v>-2</c:v>
                </c:pt>
                <c:pt idx="277">
                  <c:v>-2</c:v>
                </c:pt>
                <c:pt idx="278">
                  <c:v>-2</c:v>
                </c:pt>
                <c:pt idx="279">
                  <c:v>-2</c:v>
                </c:pt>
                <c:pt idx="280">
                  <c:v>-2</c:v>
                </c:pt>
                <c:pt idx="281">
                  <c:v>-2</c:v>
                </c:pt>
                <c:pt idx="282">
                  <c:v>-5.2310079259929601E-2</c:v>
                </c:pt>
                <c:pt idx="283">
                  <c:v>-2</c:v>
                </c:pt>
                <c:pt idx="284">
                  <c:v>-2</c:v>
                </c:pt>
                <c:pt idx="285">
                  <c:v>-2</c:v>
                </c:pt>
                <c:pt idx="286">
                  <c:v>-2</c:v>
                </c:pt>
                <c:pt idx="287">
                  <c:v>-2</c:v>
                </c:pt>
                <c:pt idx="288">
                  <c:v>-2</c:v>
                </c:pt>
                <c:pt idx="289">
                  <c:v>-2</c:v>
                </c:pt>
                <c:pt idx="290">
                  <c:v>-2</c:v>
                </c:pt>
                <c:pt idx="291">
                  <c:v>-2</c:v>
                </c:pt>
                <c:pt idx="292">
                  <c:v>-2</c:v>
                </c:pt>
                <c:pt idx="293">
                  <c:v>-2</c:v>
                </c:pt>
                <c:pt idx="294">
                  <c:v>-2</c:v>
                </c:pt>
                <c:pt idx="295">
                  <c:v>-2</c:v>
                </c:pt>
                <c:pt idx="296">
                  <c:v>-2</c:v>
                </c:pt>
                <c:pt idx="297">
                  <c:v>-2</c:v>
                </c:pt>
                <c:pt idx="298">
                  <c:v>-2</c:v>
                </c:pt>
                <c:pt idx="299">
                  <c:v>-2</c:v>
                </c:pt>
                <c:pt idx="300">
                  <c:v>-2</c:v>
                </c:pt>
                <c:pt idx="301">
                  <c:v>-2</c:v>
                </c:pt>
                <c:pt idx="302">
                  <c:v>-2</c:v>
                </c:pt>
                <c:pt idx="303">
                  <c:v>-2</c:v>
                </c:pt>
                <c:pt idx="304">
                  <c:v>-2</c:v>
                </c:pt>
                <c:pt idx="305">
                  <c:v>-2</c:v>
                </c:pt>
                <c:pt idx="306">
                  <c:v>-2</c:v>
                </c:pt>
                <c:pt idx="307">
                  <c:v>-2</c:v>
                </c:pt>
                <c:pt idx="308">
                  <c:v>-2</c:v>
                </c:pt>
                <c:pt idx="309">
                  <c:v>-2</c:v>
                </c:pt>
                <c:pt idx="310">
                  <c:v>-2</c:v>
                </c:pt>
                <c:pt idx="311">
                  <c:v>-2</c:v>
                </c:pt>
                <c:pt idx="312">
                  <c:v>-2</c:v>
                </c:pt>
                <c:pt idx="313">
                  <c:v>-2</c:v>
                </c:pt>
                <c:pt idx="314">
                  <c:v>-2</c:v>
                </c:pt>
                <c:pt idx="315">
                  <c:v>-2</c:v>
                </c:pt>
                <c:pt idx="316">
                  <c:v>-2</c:v>
                </c:pt>
                <c:pt idx="317">
                  <c:v>-2</c:v>
                </c:pt>
                <c:pt idx="318">
                  <c:v>-2</c:v>
                </c:pt>
                <c:pt idx="319">
                  <c:v>0.14174383881487199</c:v>
                </c:pt>
                <c:pt idx="320">
                  <c:v>-2</c:v>
                </c:pt>
                <c:pt idx="321">
                  <c:v>-2</c:v>
                </c:pt>
                <c:pt idx="322">
                  <c:v>-2</c:v>
                </c:pt>
                <c:pt idx="323">
                  <c:v>-2</c:v>
                </c:pt>
                <c:pt idx="324">
                  <c:v>-2</c:v>
                </c:pt>
                <c:pt idx="325">
                  <c:v>1.8323741054503001E-3</c:v>
                </c:pt>
                <c:pt idx="326">
                  <c:v>-2</c:v>
                </c:pt>
                <c:pt idx="327">
                  <c:v>-2</c:v>
                </c:pt>
                <c:pt idx="328">
                  <c:v>0.193547920678876</c:v>
                </c:pt>
                <c:pt idx="329">
                  <c:v>-2</c:v>
                </c:pt>
                <c:pt idx="330">
                  <c:v>-2</c:v>
                </c:pt>
                <c:pt idx="331">
                  <c:v>0.17509060602926099</c:v>
                </c:pt>
                <c:pt idx="332">
                  <c:v>0.15111595331962599</c:v>
                </c:pt>
                <c:pt idx="333">
                  <c:v>0.14076361730655401</c:v>
                </c:pt>
                <c:pt idx="334">
                  <c:v>-2</c:v>
                </c:pt>
                <c:pt idx="335">
                  <c:v>-2</c:v>
                </c:pt>
                <c:pt idx="336">
                  <c:v>-2</c:v>
                </c:pt>
                <c:pt idx="337">
                  <c:v>-2</c:v>
                </c:pt>
                <c:pt idx="338">
                  <c:v>-2</c:v>
                </c:pt>
                <c:pt idx="339">
                  <c:v>8.5873739457154694E-2</c:v>
                </c:pt>
                <c:pt idx="340">
                  <c:v>-2</c:v>
                </c:pt>
                <c:pt idx="341">
                  <c:v>-2</c:v>
                </c:pt>
                <c:pt idx="342">
                  <c:v>-2</c:v>
                </c:pt>
                <c:pt idx="343">
                  <c:v>0.13005516865036801</c:v>
                </c:pt>
                <c:pt idx="344">
                  <c:v>-2</c:v>
                </c:pt>
                <c:pt idx="345">
                  <c:v>0.16966316752657901</c:v>
                </c:pt>
                <c:pt idx="346">
                  <c:v>0.106749250486995</c:v>
                </c:pt>
                <c:pt idx="347">
                  <c:v>-2</c:v>
                </c:pt>
                <c:pt idx="348">
                  <c:v>-2</c:v>
                </c:pt>
                <c:pt idx="349">
                  <c:v>-2</c:v>
                </c:pt>
                <c:pt idx="350">
                  <c:v>6.7078008931575603E-2</c:v>
                </c:pt>
                <c:pt idx="351">
                  <c:v>-7.7745642803500298E-2</c:v>
                </c:pt>
                <c:pt idx="352">
                  <c:v>0.14630792807669399</c:v>
                </c:pt>
                <c:pt idx="353">
                  <c:v>4.8299548980035301E-2</c:v>
                </c:pt>
                <c:pt idx="354">
                  <c:v>5.9423631146222802E-2</c:v>
                </c:pt>
                <c:pt idx="355">
                  <c:v>-2</c:v>
                </c:pt>
                <c:pt idx="356">
                  <c:v>-2</c:v>
                </c:pt>
                <c:pt idx="357">
                  <c:v>-2</c:v>
                </c:pt>
                <c:pt idx="358">
                  <c:v>-2</c:v>
                </c:pt>
                <c:pt idx="359">
                  <c:v>-2</c:v>
                </c:pt>
                <c:pt idx="360">
                  <c:v>-2</c:v>
                </c:pt>
                <c:pt idx="361">
                  <c:v>-2</c:v>
                </c:pt>
                <c:pt idx="362">
                  <c:v>-2</c:v>
                </c:pt>
                <c:pt idx="363">
                  <c:v>0.16457867798407599</c:v>
                </c:pt>
                <c:pt idx="364">
                  <c:v>0.117061961824329</c:v>
                </c:pt>
                <c:pt idx="365">
                  <c:v>-2</c:v>
                </c:pt>
                <c:pt idx="366">
                  <c:v>-2</c:v>
                </c:pt>
                <c:pt idx="367">
                  <c:v>-2</c:v>
                </c:pt>
                <c:pt idx="368">
                  <c:v>-2</c:v>
                </c:pt>
                <c:pt idx="369">
                  <c:v>-2</c:v>
                </c:pt>
                <c:pt idx="370">
                  <c:v>-2</c:v>
                </c:pt>
                <c:pt idx="371">
                  <c:v>-2</c:v>
                </c:pt>
                <c:pt idx="372">
                  <c:v>-2</c:v>
                </c:pt>
                <c:pt idx="373">
                  <c:v>-2</c:v>
                </c:pt>
                <c:pt idx="374">
                  <c:v>-2</c:v>
                </c:pt>
                <c:pt idx="375">
                  <c:v>-2</c:v>
                </c:pt>
                <c:pt idx="376">
                  <c:v>0.15544686538282801</c:v>
                </c:pt>
                <c:pt idx="377">
                  <c:v>-2</c:v>
                </c:pt>
                <c:pt idx="378">
                  <c:v>0.17842638189096899</c:v>
                </c:pt>
                <c:pt idx="379">
                  <c:v>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A329-40AF-AA0F-F8707F4524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56051279"/>
        <c:axId val="1219169983"/>
      </c:scatterChart>
      <c:valAx>
        <c:axId val="1356051279"/>
        <c:scaling>
          <c:orientation val="minMax"/>
          <c:max val="0.8"/>
          <c:min val="-1.2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C1 - 9,9%</a:t>
                </a:r>
                <a:endParaRPr lang="pl-PL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layout>
            <c:manualLayout>
              <c:xMode val="edge"/>
              <c:yMode val="edge"/>
              <c:x val="0.47545438057634004"/>
              <c:y val="0.9279949512844092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1219169983"/>
        <c:crosses val="autoZero"/>
        <c:crossBetween val="midCat"/>
        <c:majorUnit val="0.2"/>
      </c:valAx>
      <c:valAx>
        <c:axId val="1219169983"/>
        <c:scaling>
          <c:orientation val="minMax"/>
          <c:max val="1"/>
          <c:min val="-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US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C2</a:t>
                </a:r>
                <a:r>
                  <a:rPr lang="en-US" baseline="0">
                    <a:solidFill>
                      <a:sysClr val="windowText" lastClr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- 7,8%</a:t>
                </a:r>
                <a:endParaRPr lang="pl-PL">
                  <a:solidFill>
                    <a:sysClr val="windowText" lastClr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pl-PL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pl-PL"/>
          </a:p>
        </c:txPr>
        <c:crossAx val="135605127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1FD57B-2947-4C4B-BF7F-35EF566AE192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857FF1-371E-455E-ADA2-89B3694EE76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39644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857FF1-371E-455E-ADA2-89B3694EE76C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0424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857FF1-371E-455E-ADA2-89B3694EE76C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129678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857FF1-371E-455E-ADA2-89B3694EE76C}" type="slidenum">
              <a:rPr lang="pl-PL" smtClean="0"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7816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857FF1-371E-455E-ADA2-89B3694EE76C}" type="slidenum">
              <a:rPr lang="pl-PL" smtClean="0"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84293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6CC6A-E877-4B74-BB93-C6E5CE4344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989724-FCEA-4206-BC6F-446A619D68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l-P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C601ED-EB1B-4431-945B-3D30334E5A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610016-985F-4DAA-B6EA-FF1CDE1E7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9E2F8-250A-4FEE-B9A4-FB3A847FD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175034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DA7B81-D444-4557-A569-627454624D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D5B453-3CFB-4DD4-BC81-46818F434E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3EDAD0-ED36-437E-BA55-551175C762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652E64-C32C-4324-AE73-761FF4F40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07ED80-3B54-49DA-A60A-E2190759C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86172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525E77-8B6B-40AC-A8A7-A41D781DE4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06608B-9295-4B6A-BAF9-15153C6287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5AE96B-FEDF-4963-81D3-AA483E522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ED0346-AE93-4ED2-83F8-441F65F2F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CFC009-E929-4866-B55A-3AB30B18C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45085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9DF40-3565-44E2-AB8F-F63B6AEF4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D2DFF5-D6E0-413A-8A28-F5F2985E95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C6DF8A-C3FB-4F7A-A002-3FE1F861F4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F0A740-1D63-44E5-A17F-4E55F851F4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F1ACEE-96DC-474B-B767-BE287AD99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86777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15B40-A5BC-4AEC-BD41-EAC8CF204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506C9F-EB17-4E29-AA31-E614448AFF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EFCD6F-8D2C-4A65-BF69-09AD9F575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85EE60-5CF2-49EE-A7A2-BA42D2A0D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9976FD-339A-4244-BF20-A51AE5019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16713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1A0F9-910A-4077-AE0D-8DA097243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2AE72E-0FAF-4EDE-B3AB-A37FDCD33F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11AFDB-7026-4C08-94FE-A1BC3F28FE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B063B4-8F96-4441-B139-3CD0B4C84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9B38A0-5413-49CE-BA71-16AB56173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9CD3F3-090D-40F4-A342-F4BC1FDB8E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184480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C508B-0B37-4039-8CE5-4BF5B0D87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6490D9-9178-45EA-9511-73530EFA66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14BB0D-E392-4C68-B32B-4CB8641DB6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6E8E74-043F-4E98-8EA9-D95F2B1CB8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ED70C4-8E46-468A-90F0-38AE4660B9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390A9BA-7D5D-414A-96D9-36C980BC5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0F26AC-0749-4B49-8FC6-8D6A5D471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C2ACCB2-B3C2-4C35-A568-94E244513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97390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7A74F-06E3-4087-B620-E9536FA7D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485F4F-9799-4A85-A39C-AA7C7B2DE9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D47EA6-1C6A-4BAA-9C6C-F382E7ED62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FEC2CE-A604-41C1-9598-9BF903E8A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6814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6C48C9-6ACC-4D78-AABF-0708C32C4D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692766-3C8A-4ACA-9451-6B128051F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E12D06-E9E1-4B15-8302-1EB9C26B6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774855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0C9C3F-40C8-44EF-81DE-61BDE2AE9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31307A-2302-4C52-BA6E-75A003AFE7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42D2E4-4DBD-4962-B41B-2E55D199E5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B5F2C7-BB82-4AFB-BF33-8AC9AD0B0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0F04A9-2117-4277-BDD8-09B690C28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FA6E1E-CE00-4547-BB25-32A0E3D2E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730297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D5008C-F70B-4807-AB78-932F6448A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C59E413-6C16-49F1-B871-D59666412E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631DCA-1368-47C4-AAD9-66B4EBF136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CE4D74-68E9-4D4E-A85B-C3BEE4173F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82287F-F27D-4BC4-9EF4-AF9999D476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1F1FD9-7A6F-4B06-9CA6-84795B277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729083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5B59C2-CFCD-4995-AFB9-9243DE0DB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98061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" name="think-cell Slide" r:id="rId16" imgW="475" imgH="476" progId="TCLayout.ActiveDocument.1">
                  <p:embed/>
                </p:oleObj>
              </mc:Choice>
              <mc:Fallback>
                <p:oleObj name="think-cell Slide" r:id="rId16" imgW="475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AF9425-94ED-4B1F-8A12-9A39B9552CA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EEDEF4-5833-4013-BB5C-D5C289F62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C20486-F37B-43B3-922B-ADA6CE8726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9C1D5F-9C5E-45BD-ABD1-164C32CD03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707AD9-4827-4EDA-9C29-52DFFE801B0E}" type="datetimeFigureOut">
              <a:rPr lang="pl-PL" smtClean="0"/>
              <a:t>24.02.2021</a:t>
            </a:fld>
            <a:endParaRPr lang="pl-P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939494-E330-473A-B90B-AE048074F6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109A80-85B0-4E73-A2CF-0D478FFCC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956BE-617C-406B-8CF7-07ED80354CC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27638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23.xml"/><Relationship Id="rId7" Type="http://schemas.openxmlformats.org/officeDocument/2006/relationships/chart" Target="../charts/chart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5.xml"/><Relationship Id="rId7" Type="http://schemas.openxmlformats.org/officeDocument/2006/relationships/image" Target="../media/image2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2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21.xml"/><Relationship Id="rId7" Type="http://schemas.openxmlformats.org/officeDocument/2006/relationships/image" Target="../media/image2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chart" Target="../charts/chart3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AB28B8-2EA8-4E82-AD29-FF97D94BB7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7607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63D186-C15F-4B97-8509-02B1368A4B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12720" y="6068658"/>
            <a:ext cx="9144000" cy="423582"/>
          </a:xfrm>
        </p:spPr>
        <p:txBody>
          <a:bodyPr/>
          <a:lstStyle/>
          <a:p>
            <a:pPr algn="r">
              <a:spcBef>
                <a:spcPts val="0"/>
              </a:spcBef>
            </a:pPr>
            <a:r>
              <a:rPr lang="en-US" dirty="0"/>
              <a:t>Promotor: </a:t>
            </a:r>
            <a:r>
              <a:rPr lang="en-US" dirty="0" err="1"/>
              <a:t>dr</a:t>
            </a:r>
            <a:r>
              <a:rPr lang="en-US" dirty="0"/>
              <a:t> in</a:t>
            </a:r>
            <a:r>
              <a:rPr lang="pl-PL" dirty="0"/>
              <a:t>ż. </a:t>
            </a:r>
            <a:r>
              <a:rPr lang="en-US" dirty="0" err="1"/>
              <a:t>Ewa</a:t>
            </a:r>
            <a:r>
              <a:rPr lang="en-US" dirty="0"/>
              <a:t> </a:t>
            </a:r>
            <a:r>
              <a:rPr lang="en-US" dirty="0" err="1"/>
              <a:t>Figielska</a:t>
            </a:r>
            <a:endParaRPr lang="pl-PL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3AE2F6C-D806-49C7-B73F-5FE47E2D02DB}"/>
              </a:ext>
            </a:extLst>
          </p:cNvPr>
          <p:cNvSpPr txBox="1">
            <a:spLocks/>
          </p:cNvSpPr>
          <p:nvPr/>
        </p:nvSpPr>
        <p:spPr>
          <a:xfrm>
            <a:off x="624191" y="972767"/>
            <a:ext cx="10943617" cy="362841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4000" b="1" i="1" dirty="0">
                <a:latin typeface="+mn-lt"/>
              </a:rPr>
              <a:t>Zastosowanie analizy składowych głównych w porównaniu powiatów Polski ze względu na gospodarkę mieszkaniową i komunalną</a:t>
            </a:r>
            <a:endParaRPr lang="en-US" sz="4000" b="1" i="1" dirty="0">
              <a:latin typeface="+mn-lt"/>
            </a:endParaRPr>
          </a:p>
          <a:p>
            <a:endParaRPr lang="en-US" sz="4000" i="1" dirty="0">
              <a:latin typeface="+mn-lt"/>
            </a:endParaRPr>
          </a:p>
          <a:p>
            <a:pPr algn="r"/>
            <a:r>
              <a:rPr lang="en-US" sz="2800" dirty="0"/>
              <a:t>Mihai Pruteanu</a:t>
            </a:r>
          </a:p>
        </p:txBody>
      </p:sp>
      <p:pic>
        <p:nvPicPr>
          <p:cNvPr id="2076" name="Picture 28" descr="IRK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2676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55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2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431" y="789664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sz="2100" dirty="0"/>
              <a:t>Wykres PCA przedstawia wpływ składowych głównych PC1 i PC2 na każdy powiat. Czym dalej powiat jest oddalony od centrum układu, tym mocniej składowa opisuje powiat.</a:t>
            </a:r>
          </a:p>
          <a:p>
            <a:pPr marL="0" indent="0">
              <a:buNone/>
            </a:pPr>
            <a:endParaRPr lang="pl-PL" sz="2100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76FCA35-F48B-4EAB-93DD-576732FAA8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4663334"/>
              </p:ext>
            </p:extLst>
          </p:nvPr>
        </p:nvGraphicFramePr>
        <p:xfrm>
          <a:off x="119681" y="1757680"/>
          <a:ext cx="5004000" cy="3474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9" name="Picture 28" descr="IRK"/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47EC296-33CF-4659-90F5-015D38360855}"/>
              </a:ext>
            </a:extLst>
          </p:cNvPr>
          <p:cNvSpPr txBox="1">
            <a:spLocks/>
          </p:cNvSpPr>
          <p:nvPr/>
        </p:nvSpPr>
        <p:spPr>
          <a:xfrm>
            <a:off x="0" y="-6776"/>
            <a:ext cx="10515600" cy="7964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+mn-lt"/>
              </a:rPr>
              <a:t>Wyniki obliczeń</a:t>
            </a:r>
            <a:r>
              <a:rPr lang="en-US" sz="3600" b="1" dirty="0">
                <a:latin typeface="+mn-lt"/>
              </a:rPr>
              <a:t> – </a:t>
            </a:r>
            <a:r>
              <a:rPr lang="pl-PL" sz="3600" b="1" dirty="0">
                <a:latin typeface="+mn-lt"/>
              </a:rPr>
              <a:t>wykres</a:t>
            </a:r>
            <a:r>
              <a:rPr lang="en-US" sz="3600" b="1" dirty="0">
                <a:latin typeface="+mn-lt"/>
              </a:rPr>
              <a:t> PCA, 2017 </a:t>
            </a:r>
            <a:r>
              <a:rPr lang="en-US" sz="3600" b="1" dirty="0" err="1">
                <a:latin typeface="+mn-lt"/>
              </a:rPr>
              <a:t>rok</a:t>
            </a:r>
            <a:endParaRPr lang="pl-PL" sz="3600" b="1" dirty="0">
              <a:latin typeface="+mn-lt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A2FEE6E2-18AE-4E95-8FE5-009BE352ED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771381"/>
              </p:ext>
            </p:extLst>
          </p:nvPr>
        </p:nvGraphicFramePr>
        <p:xfrm>
          <a:off x="5123682" y="1757680"/>
          <a:ext cx="5364000" cy="3474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BB1D7715-D13E-4DB2-BA45-793443D28B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904441"/>
              </p:ext>
            </p:extLst>
          </p:nvPr>
        </p:nvGraphicFramePr>
        <p:xfrm>
          <a:off x="10515600" y="1843438"/>
          <a:ext cx="1578630" cy="2774885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660400">
                  <a:extLst>
                    <a:ext uri="{9D8B030D-6E8A-4147-A177-3AD203B41FA5}">
                      <a16:colId xmlns:a16="http://schemas.microsoft.com/office/drawing/2014/main" val="98832073"/>
                    </a:ext>
                  </a:extLst>
                </a:gridCol>
                <a:gridCol w="918230">
                  <a:extLst>
                    <a:ext uri="{9D8B030D-6E8A-4147-A177-3AD203B41FA5}">
                      <a16:colId xmlns:a16="http://schemas.microsoft.com/office/drawing/2014/main" val="785787895"/>
                    </a:ext>
                  </a:extLst>
                </a:gridCol>
              </a:tblGrid>
              <a:tr h="289056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b="1" dirty="0">
                          <a:effectLst/>
                        </a:rPr>
                        <a:t>grupa</a:t>
                      </a:r>
                      <a:endParaRPr lang="pl-PL" sz="16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b="1" dirty="0">
                          <a:effectLst/>
                        </a:rPr>
                        <a:t>liczebność</a:t>
                      </a:r>
                      <a:endParaRPr lang="pl-PL" sz="16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9658317"/>
                  </a:ext>
                </a:extLst>
              </a:tr>
              <a:tr h="247475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</a:rPr>
                        <a:t>1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</a:rPr>
                        <a:t>17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771558"/>
                  </a:ext>
                </a:extLst>
              </a:tr>
              <a:tr h="248706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1083473"/>
                  </a:ext>
                </a:extLst>
              </a:tr>
              <a:tr h="248706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824796"/>
                  </a:ext>
                </a:extLst>
              </a:tr>
              <a:tr h="248706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9668989"/>
                  </a:ext>
                </a:extLst>
              </a:tr>
              <a:tr h="248706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88856"/>
                  </a:ext>
                </a:extLst>
              </a:tr>
              <a:tr h="248706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0317753"/>
                  </a:ext>
                </a:extLst>
              </a:tr>
              <a:tr h="248706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6594362"/>
                  </a:ext>
                </a:extLst>
              </a:tr>
              <a:tr h="248706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210158"/>
                  </a:ext>
                </a:extLst>
              </a:tr>
              <a:tr h="248706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118081"/>
                  </a:ext>
                </a:extLst>
              </a:tr>
              <a:tr h="248706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53104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17442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7792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0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9" name="Picture 28" descr="IRK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47EC296-33CF-4659-90F5-015D38360855}"/>
              </a:ext>
            </a:extLst>
          </p:cNvPr>
          <p:cNvSpPr txBox="1">
            <a:spLocks/>
          </p:cNvSpPr>
          <p:nvPr/>
        </p:nvSpPr>
        <p:spPr>
          <a:xfrm>
            <a:off x="0" y="-6776"/>
            <a:ext cx="10515600" cy="7964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+mn-lt"/>
              </a:rPr>
              <a:t>Wyniki obliczeń</a:t>
            </a:r>
            <a:r>
              <a:rPr lang="en-US" sz="3600" b="1" dirty="0">
                <a:latin typeface="+mn-lt"/>
              </a:rPr>
              <a:t> – </a:t>
            </a:r>
            <a:r>
              <a:rPr lang="pl-PL" sz="3600" b="1" dirty="0">
                <a:latin typeface="+mn-lt"/>
              </a:rPr>
              <a:t>wykres</a:t>
            </a:r>
            <a:r>
              <a:rPr lang="en-US" sz="3600" b="1" dirty="0">
                <a:latin typeface="+mn-lt"/>
              </a:rPr>
              <a:t> PCA. 2013, 2015 </a:t>
            </a:r>
            <a:r>
              <a:rPr lang="pl-PL" sz="3600" b="1" dirty="0">
                <a:latin typeface="+mn-lt"/>
              </a:rPr>
              <a:t>rok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39F7B8C-92D5-4598-B13A-2180BC4D3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724610"/>
              </p:ext>
            </p:extLst>
          </p:nvPr>
        </p:nvGraphicFramePr>
        <p:xfrm>
          <a:off x="6869627" y="841772"/>
          <a:ext cx="1789189" cy="2580840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894080">
                  <a:extLst>
                    <a:ext uri="{9D8B030D-6E8A-4147-A177-3AD203B41FA5}">
                      <a16:colId xmlns:a16="http://schemas.microsoft.com/office/drawing/2014/main" val="98832073"/>
                    </a:ext>
                  </a:extLst>
                </a:gridCol>
                <a:gridCol w="895109">
                  <a:extLst>
                    <a:ext uri="{9D8B030D-6E8A-4147-A177-3AD203B41FA5}">
                      <a16:colId xmlns:a16="http://schemas.microsoft.com/office/drawing/2014/main" val="785787895"/>
                    </a:ext>
                  </a:extLst>
                </a:gridCol>
              </a:tblGrid>
              <a:tr h="25808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b="1" dirty="0">
                          <a:effectLst/>
                        </a:rPr>
                        <a:t>grupa</a:t>
                      </a:r>
                      <a:endParaRPr lang="pl-PL" sz="16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b="1" dirty="0">
                          <a:effectLst/>
                        </a:rPr>
                        <a:t>liczebność</a:t>
                      </a:r>
                      <a:endParaRPr lang="pl-PL" sz="16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9658317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</a:rPr>
                        <a:t>1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6197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12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771558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56197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54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1083473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6197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38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824796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56197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13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9668989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6197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37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88856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56197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19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0317753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56197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78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6594362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56197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29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210158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eistot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100</a:t>
                      </a:r>
                      <a:endParaRPr lang="pl-PL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118081"/>
                  </a:ext>
                </a:extLst>
              </a:tr>
            </a:tbl>
          </a:graphicData>
        </a:graphic>
      </p:graphicFrame>
      <p:graphicFrame>
        <p:nvGraphicFramePr>
          <p:cNvPr id="13" name="Chart 21">
            <a:extLst>
              <a:ext uri="{FF2B5EF4-FFF2-40B4-BE49-F238E27FC236}">
                <a16:creationId xmlns:a16="http://schemas.microsoft.com/office/drawing/2014/main" id="{E662FE14-43A3-4A65-A4EF-D1D57022E1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6567095"/>
              </p:ext>
            </p:extLst>
          </p:nvPr>
        </p:nvGraphicFramePr>
        <p:xfrm>
          <a:off x="88944" y="800968"/>
          <a:ext cx="6464256" cy="297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0" name="Chart 25">
            <a:extLst>
              <a:ext uri="{FF2B5EF4-FFF2-40B4-BE49-F238E27FC236}">
                <a16:creationId xmlns:a16="http://schemas.microsoft.com/office/drawing/2014/main" id="{6614FA62-4D01-4B5D-9155-3AC624BCEE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0200965"/>
              </p:ext>
            </p:extLst>
          </p:nvPr>
        </p:nvGraphicFramePr>
        <p:xfrm>
          <a:off x="1473200" y="3779520"/>
          <a:ext cx="6075680" cy="297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A393054C-A968-4463-9CFC-EB83002EE6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2248777"/>
              </p:ext>
            </p:extLst>
          </p:nvPr>
        </p:nvGraphicFramePr>
        <p:xfrm>
          <a:off x="7843520" y="4107418"/>
          <a:ext cx="1879600" cy="2322756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988795">
                  <a:extLst>
                    <a:ext uri="{9D8B030D-6E8A-4147-A177-3AD203B41FA5}">
                      <a16:colId xmlns:a16="http://schemas.microsoft.com/office/drawing/2014/main" val="98832073"/>
                    </a:ext>
                  </a:extLst>
                </a:gridCol>
                <a:gridCol w="890805">
                  <a:extLst>
                    <a:ext uri="{9D8B030D-6E8A-4147-A177-3AD203B41FA5}">
                      <a16:colId xmlns:a16="http://schemas.microsoft.com/office/drawing/2014/main" val="785787895"/>
                    </a:ext>
                  </a:extLst>
                </a:gridCol>
              </a:tblGrid>
              <a:tr h="25808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b="1" dirty="0">
                          <a:effectLst/>
                        </a:rPr>
                        <a:t>grupa</a:t>
                      </a:r>
                      <a:endParaRPr lang="pl-PL" sz="16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b="1" dirty="0">
                          <a:effectLst/>
                        </a:rPr>
                        <a:t>liczebność</a:t>
                      </a:r>
                      <a:endParaRPr lang="pl-PL" sz="16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9658317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</a:rPr>
                        <a:t>1</a:t>
                      </a:r>
                      <a:endParaRPr lang="pl-PL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5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771558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45021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2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1083473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8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824796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45021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3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9668989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3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788856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45021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5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0317753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4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6594362"/>
                  </a:ext>
                </a:extLst>
              </a:tr>
              <a:tr h="258084">
                <a:tc>
                  <a:txBody>
                    <a:bodyPr/>
                    <a:lstStyle/>
                    <a:p>
                      <a:pPr marL="0" indent="0" algn="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eistot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450215"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5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1180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95774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577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8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Wyniki obliczeń – korelacja składowych głównych i zmiennych</a:t>
            </a:r>
            <a:r>
              <a:rPr lang="en-US" sz="3600" b="1" dirty="0">
                <a:latin typeface="+mn-lt"/>
              </a:rPr>
              <a:t>, </a:t>
            </a:r>
            <a:r>
              <a:rPr lang="pl-PL" sz="3600" b="1" dirty="0">
                <a:latin typeface="+mn-lt"/>
              </a:rPr>
              <a:t>2017</a:t>
            </a:r>
            <a:r>
              <a:rPr lang="en-US" sz="3600" b="1" dirty="0">
                <a:latin typeface="+mn-lt"/>
              </a:rPr>
              <a:t> </a:t>
            </a:r>
            <a:r>
              <a:rPr lang="pl-PL" sz="3600" b="1" dirty="0">
                <a:latin typeface="+mn-lt"/>
              </a:rPr>
              <a:t>ro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882" y="1462642"/>
            <a:ext cx="10515600" cy="4760369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pl-PL" sz="3200" dirty="0"/>
              <a:t>Korelacja składowych głównych i zmiennych</a:t>
            </a:r>
            <a:r>
              <a:rPr lang="pl-PL" sz="2100" dirty="0"/>
              <a:t>.</a:t>
            </a:r>
          </a:p>
          <a:p>
            <a:pPr marL="0" indent="0" algn="just">
              <a:buNone/>
            </a:pPr>
            <a:r>
              <a:rPr lang="pl-PL" dirty="0"/>
              <a:t>Korelacja wskazuje jakie zmienne mają największy wpływ na składowe główne. Dzięki temu można określić jakimi zmiennymi najlepiej badać gospodarkę mieszkaniową i komunalną powiatów w 2017 roku. Są to zmienne: 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9 – kubatura budynków mieszkalnych komunalnych ogrzewanych centralnie ogółem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32 – kwota wypłaconych dodatków mieszkaniowych ogółem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205 – długość sieci kanalizacyjnej w relacji do długości sieci wodociągowej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211 – zużycie energii elektrycznej ogółem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225 – procent ludności korzystający z gazu ogółem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230 – procent ludności korzystający z kanalizacji na wsi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231 – procent ludności korzystający z gazu na wsi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232 – przedsiębiorstwa dostarczające wodę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251 – sieć wodociągowa na wsi,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X271 – zużycie gazu na 1 korzystającego ogółem w kWh.</a:t>
            </a:r>
            <a:endParaRPr lang="pl-PL" sz="2100" dirty="0"/>
          </a:p>
          <a:p>
            <a:pPr marL="0" indent="0">
              <a:buNone/>
            </a:pPr>
            <a:endParaRPr lang="pl-PL" sz="2100" dirty="0"/>
          </a:p>
          <a:p>
            <a:pPr marL="0" indent="0">
              <a:buNone/>
            </a:pPr>
            <a:endParaRPr lang="pl-PL" sz="2100" dirty="0"/>
          </a:p>
          <a:p>
            <a:pPr marL="0" indent="0">
              <a:buNone/>
            </a:pPr>
            <a:endParaRPr lang="pl-PL" sz="2100" dirty="0"/>
          </a:p>
          <a:p>
            <a:pPr marL="0" indent="0">
              <a:buNone/>
            </a:pPr>
            <a:endParaRPr lang="pl-PL" sz="2100" dirty="0"/>
          </a:p>
          <a:p>
            <a:pPr marL="0" indent="0">
              <a:buNone/>
            </a:pPr>
            <a:endParaRPr lang="pl-PL" sz="2100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</p:txBody>
      </p:sp>
      <p:pic>
        <p:nvPicPr>
          <p:cNvPr id="9" name="Picture 28" descr="IRK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456055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596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5" name="think-cell Slide" r:id="rId6" imgW="475" imgH="476" progId="TCLayout.ActiveDocument.1">
                  <p:embed/>
                </p:oleObj>
              </mc:Choice>
              <mc:Fallback>
                <p:oleObj name="think-cell Slide" r:id="rId6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9" name="Picture 28" descr="IRK"/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F29C7-1D9A-4A8B-B82E-C11CE214E9AA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+mn-lt"/>
              </a:rPr>
              <a:t>Wyniki obliczeń – korelacja składowych głównych i zmiennych.</a:t>
            </a:r>
            <a:r>
              <a:rPr lang="en-US" sz="3600" b="1" dirty="0">
                <a:latin typeface="+mn-lt"/>
              </a:rPr>
              <a:t> </a:t>
            </a:r>
            <a:r>
              <a:rPr lang="pl-PL" sz="3600" b="1" dirty="0">
                <a:latin typeface="+mn-lt"/>
              </a:rPr>
              <a:t>2013. 2015 ro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4B0600-5287-4C3F-BDBB-C9F273FBF0F1}"/>
              </a:ext>
            </a:extLst>
          </p:cNvPr>
          <p:cNvSpPr txBox="1"/>
          <p:nvPr/>
        </p:nvSpPr>
        <p:spPr>
          <a:xfrm>
            <a:off x="0" y="1147781"/>
            <a:ext cx="12192000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2200" dirty="0"/>
              <a:t>Korelacja składowych głównych i zmiennych w 2015 roku (17 zmiennych istotnie skorelowanych):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9 – kubatura budynków mieszkalnych komunalnych ogrzewanych centralnie ogółem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11 – kubatura budynków mieszkalnych prywatnych ogrzewanych centralnie ogółem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31 – liczba wypłaconych dodatków mieszkaniowych ogółem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47 – wymiana instalacji w mieszkaniach w budynkach remontowanych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67 – wymiana instalacji w mieszkaniach w budynkach remontowanych w zasobach spółdzielni mieszkaniowych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58D29B-59DD-4AAC-91DB-5D70A16B2D56}"/>
              </a:ext>
            </a:extLst>
          </p:cNvPr>
          <p:cNvSpPr txBox="1"/>
          <p:nvPr/>
        </p:nvSpPr>
        <p:spPr>
          <a:xfrm>
            <a:off x="0" y="3545541"/>
            <a:ext cx="12192000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2200" dirty="0"/>
              <a:t>Korelacja składowych głównych i zmiennych w 2013 roku (16 zmiennych istotnie skorelowanych):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1 – kotłownie ogółem na 1000 budynków mieszkalnych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37 – liczba wypłaconych dodatków mieszkaniowych prywatnych w budynkach objętych wspólnotą mieszkaniową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43 – liczba wypłaconych dodatków mieszkaniowych innych podmiotów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81 – wymiana instalacji w mieszkaniach w budynkach remontowanych w zasobach w budynkach objętych wspólnotami mieszkaniowymi,</a:t>
            </a:r>
          </a:p>
          <a:p>
            <a:pPr marL="514350" lvl="0" indent="-514350">
              <a:buFont typeface="+mj-lt"/>
              <a:buAutoNum type="arabicPeriod"/>
            </a:pPr>
            <a:r>
              <a:rPr lang="pl-PL" dirty="0"/>
              <a:t>X85 – wymiana stolarki budowlanej w mieszkaniach w budynkach remontowanych w zasobach w budynkach objętych wspólnotami mieszkaniowymi.</a:t>
            </a:r>
          </a:p>
        </p:txBody>
      </p:sp>
    </p:spTree>
    <p:extLst>
      <p:ext uri="{BB962C8B-B14F-4D97-AF65-F5344CB8AC3E}">
        <p14:creationId xmlns:p14="http://schemas.microsoft.com/office/powerpoint/2010/main" val="24508980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07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4" name="think-cell Slide" r:id="rId6" imgW="475" imgH="476" progId="TCLayout.ActiveDocument.1">
                  <p:embed/>
                </p:oleObj>
              </mc:Choice>
              <mc:Fallback>
                <p:oleObj name="think-cell Slide" r:id="rId6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Wnioski – porównanie wariancj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432085"/>
            <a:ext cx="10865733" cy="5002333"/>
          </a:xfrm>
        </p:spPr>
        <p:txBody>
          <a:bodyPr>
            <a:normAutofit/>
          </a:bodyPr>
          <a:lstStyle/>
          <a:p>
            <a:pPr marL="0" indent="0" algn="just">
              <a:spcBef>
                <a:spcPts val="600"/>
              </a:spcBef>
              <a:buNone/>
            </a:pPr>
            <a:r>
              <a:rPr lang="pl-PL" sz="1800" dirty="0"/>
              <a:t>Pierwsze dwie główne składowe opisują od 17% do 40% wariancji modelu. W 2013 roku wartość ta była niska, 17,7%, a w 2015 roku – 20,7%. Jednak w 2017 roku pierwsze dwie główne składowe wyjaśniały  już 38,3%.</a:t>
            </a:r>
          </a:p>
          <a:p>
            <a:pPr marL="0" indent="0" algn="just">
              <a:spcBef>
                <a:spcPts val="600"/>
              </a:spcBef>
              <a:buNone/>
            </a:pPr>
            <a:endParaRPr lang="pl-PL" sz="1800" dirty="0"/>
          </a:p>
          <a:p>
            <a:pPr marL="0" indent="0" algn="just">
              <a:spcBef>
                <a:spcPts val="600"/>
              </a:spcBef>
              <a:buNone/>
            </a:pPr>
            <a:r>
              <a:rPr lang="pl-PL" sz="1800" dirty="0"/>
              <a:t>Oznacza to, że w badanym przypadku metodę PCA warto użyć dla badania gospodarki mieszkaniowej i komunalnej tylko w 2017 roku.</a:t>
            </a:r>
          </a:p>
        </p:txBody>
      </p:sp>
      <p:pic>
        <p:nvPicPr>
          <p:cNvPr id="9" name="Picture 28" descr="IRK"/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  <p:graphicFrame>
        <p:nvGraphicFramePr>
          <p:cNvPr id="11" name="Tabela 7">
            <a:extLst>
              <a:ext uri="{FF2B5EF4-FFF2-40B4-BE49-F238E27FC236}">
                <a16:creationId xmlns:a16="http://schemas.microsoft.com/office/drawing/2014/main" id="{1E075590-FB1F-4632-8120-5E5EAB3E46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7530897"/>
              </p:ext>
            </p:extLst>
          </p:nvPr>
        </p:nvGraphicFramePr>
        <p:xfrm>
          <a:off x="945204" y="3662074"/>
          <a:ext cx="5150796" cy="2373291"/>
        </p:xfrm>
        <a:graphic>
          <a:graphicData uri="http://schemas.openxmlformats.org/drawingml/2006/table">
            <a:tbl>
              <a:tblPr/>
              <a:tblGrid>
                <a:gridCol w="1119634">
                  <a:extLst>
                    <a:ext uri="{9D8B030D-6E8A-4147-A177-3AD203B41FA5}">
                      <a16:colId xmlns:a16="http://schemas.microsoft.com/office/drawing/2014/main" val="1041596251"/>
                    </a:ext>
                  </a:extLst>
                </a:gridCol>
                <a:gridCol w="2171882">
                  <a:extLst>
                    <a:ext uri="{9D8B030D-6E8A-4147-A177-3AD203B41FA5}">
                      <a16:colId xmlns:a16="http://schemas.microsoft.com/office/drawing/2014/main" val="4095376911"/>
                    </a:ext>
                  </a:extLst>
                </a:gridCol>
                <a:gridCol w="1859280">
                  <a:extLst>
                    <a:ext uri="{9D8B030D-6E8A-4147-A177-3AD203B41FA5}">
                      <a16:colId xmlns:a16="http://schemas.microsoft.com/office/drawing/2014/main" val="1851210746"/>
                    </a:ext>
                  </a:extLst>
                </a:gridCol>
              </a:tblGrid>
              <a:tr h="500704"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Rok</a:t>
                      </a:r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Liczba</a:t>
                      </a:r>
                      <a:r>
                        <a:rPr lang="pl-PL" sz="1800" b="1" i="0" dirty="0">
                          <a:effectLst/>
                        </a:rPr>
                        <a:t> </a:t>
                      </a:r>
                      <a:r>
                        <a:rPr lang="pl-PL" sz="1800" b="1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składowych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Wariancja</a:t>
                      </a:r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(PC1 i PC2)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3497109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17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31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38.3%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719603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15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73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.7%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7972691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13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66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17.7%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86462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04021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831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4" name="think-cell Slide" r:id="rId6" imgW="475" imgH="476" progId="TCLayout.ActiveDocument.1">
                  <p:embed/>
                </p:oleObj>
              </mc:Choice>
              <mc:Fallback>
                <p:oleObj name="think-cell Slide" r:id="rId6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Wnioski – porównanie grup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432085"/>
            <a:ext cx="10865733" cy="5002333"/>
          </a:xfrm>
        </p:spPr>
        <p:txBody>
          <a:bodyPr>
            <a:normAutofit/>
          </a:bodyPr>
          <a:lstStyle/>
          <a:p>
            <a:pPr marL="0" indent="0" algn="just">
              <a:spcBef>
                <a:spcPts val="600"/>
              </a:spcBef>
              <a:buNone/>
            </a:pPr>
            <a:r>
              <a:rPr lang="en-US" sz="1800" dirty="0"/>
              <a:t>W </a:t>
            </a:r>
            <a:r>
              <a:rPr lang="pl-PL" sz="1800" dirty="0"/>
              <a:t>zależności od wybranej metodologii powiaty można podzielić na grupy na podstawie wartości składowych głównych PC1 i PC2. W danej pracy powiaty podzielono metodą graficzną na 10 grup w 2017 roku, 9 grup w 2015 roku, 8 grup w 2013 roku.</a:t>
            </a:r>
          </a:p>
          <a:p>
            <a:pPr marL="0" indent="0" algn="just">
              <a:spcBef>
                <a:spcPts val="600"/>
              </a:spcBef>
              <a:buNone/>
            </a:pPr>
            <a:r>
              <a:rPr lang="pl-PL" sz="1800" dirty="0"/>
              <a:t>Także metodą graficzną można określić powiaty i grupy które nie są istotnie opisywane przez żadną składową. Są to wartości blisko centrum układu współrzędnych. W 2017 roku było to około 38%, w 2015 roku około 26%, a w 2013 roku około 15%. Oznacza to, że nie wszystkie powiaty są opisywane metodą PCA.</a:t>
            </a:r>
          </a:p>
        </p:txBody>
      </p:sp>
      <p:pic>
        <p:nvPicPr>
          <p:cNvPr id="9" name="Picture 28" descr="IRK"/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  <p:graphicFrame>
        <p:nvGraphicFramePr>
          <p:cNvPr id="11" name="Tabela 7">
            <a:extLst>
              <a:ext uri="{FF2B5EF4-FFF2-40B4-BE49-F238E27FC236}">
                <a16:creationId xmlns:a16="http://schemas.microsoft.com/office/drawing/2014/main" id="{1E075590-FB1F-4632-8120-5E5EAB3E46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3808155"/>
              </p:ext>
            </p:extLst>
          </p:nvPr>
        </p:nvGraphicFramePr>
        <p:xfrm>
          <a:off x="945204" y="3662074"/>
          <a:ext cx="7314875" cy="2233915"/>
        </p:xfrm>
        <a:graphic>
          <a:graphicData uri="http://schemas.openxmlformats.org/drawingml/2006/table">
            <a:tbl>
              <a:tblPr/>
              <a:tblGrid>
                <a:gridCol w="923402">
                  <a:extLst>
                    <a:ext uri="{9D8B030D-6E8A-4147-A177-3AD203B41FA5}">
                      <a16:colId xmlns:a16="http://schemas.microsoft.com/office/drawing/2014/main" val="1041596251"/>
                    </a:ext>
                  </a:extLst>
                </a:gridCol>
                <a:gridCol w="1791228">
                  <a:extLst>
                    <a:ext uri="{9D8B030D-6E8A-4147-A177-3AD203B41FA5}">
                      <a16:colId xmlns:a16="http://schemas.microsoft.com/office/drawing/2014/main" val="4095376911"/>
                    </a:ext>
                  </a:extLst>
                </a:gridCol>
                <a:gridCol w="1533415">
                  <a:extLst>
                    <a:ext uri="{9D8B030D-6E8A-4147-A177-3AD203B41FA5}">
                      <a16:colId xmlns:a16="http://schemas.microsoft.com/office/drawing/2014/main" val="3543879987"/>
                    </a:ext>
                  </a:extLst>
                </a:gridCol>
                <a:gridCol w="1533415">
                  <a:extLst>
                    <a:ext uri="{9D8B030D-6E8A-4147-A177-3AD203B41FA5}">
                      <a16:colId xmlns:a16="http://schemas.microsoft.com/office/drawing/2014/main" val="1851210746"/>
                    </a:ext>
                  </a:extLst>
                </a:gridCol>
                <a:gridCol w="1533415">
                  <a:extLst>
                    <a:ext uri="{9D8B030D-6E8A-4147-A177-3AD203B41FA5}">
                      <a16:colId xmlns:a16="http://schemas.microsoft.com/office/drawing/2014/main" val="3163079077"/>
                    </a:ext>
                  </a:extLst>
                </a:gridCol>
              </a:tblGrid>
              <a:tr h="500704"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Rok</a:t>
                      </a:r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Liczba grup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„istotne”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„nieistotne”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„istotne” (%)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3497109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17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10 (7)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235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145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61,8%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1076449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15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9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280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100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73,7%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0516317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13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8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322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58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</a:rPr>
                        <a:t>84,7%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02224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15382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156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2" name="think-cell Slide" r:id="rId6" imgW="475" imgH="476" progId="TCLayout.ActiveDocument.1">
                  <p:embed/>
                </p:oleObj>
              </mc:Choice>
              <mc:Fallback>
                <p:oleObj name="think-cell Slide" r:id="rId6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Wniosk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432085"/>
            <a:ext cx="10865733" cy="5002333"/>
          </a:xfrm>
        </p:spPr>
        <p:txBody>
          <a:bodyPr>
            <a:normAutofit/>
          </a:bodyPr>
          <a:lstStyle/>
          <a:p>
            <a:pPr marL="358775" indent="-358775">
              <a:spcBef>
                <a:spcPts val="600"/>
              </a:spcBef>
              <a:buFont typeface="+mj-lt"/>
              <a:buAutoNum type="arabicPeriod"/>
            </a:pPr>
            <a:r>
              <a:rPr lang="pl-PL" sz="2000" dirty="0"/>
              <a:t>Przy wielkim zbiorze danych z tej samej dziedziny dużo zmiennych jest skorelowanych. Trzeba zastosować narzędzie dla usunięcia skorelowanych zmiennych.</a:t>
            </a:r>
          </a:p>
          <a:p>
            <a:pPr marL="358775" indent="-358775">
              <a:spcBef>
                <a:spcPts val="600"/>
              </a:spcBef>
              <a:buFont typeface="+mj-lt"/>
              <a:buAutoNum type="arabicPeriod"/>
            </a:pPr>
            <a:r>
              <a:rPr lang="pl-PL" sz="2000" dirty="0"/>
              <a:t>Model głównych składowych istotnie opisuje w gospodarce mieszkaniowej i komunalnej od 17% do 40% wariancji. Oznacza to, że daną dziedzinę powinno się dodatkowo badać innymi narzędziami statystycznymi.</a:t>
            </a:r>
          </a:p>
          <a:p>
            <a:pPr marL="358775" indent="-358775">
              <a:spcBef>
                <a:spcPts val="600"/>
              </a:spcBef>
              <a:buFont typeface="+mj-lt"/>
              <a:buAutoNum type="arabicPeriod"/>
            </a:pPr>
            <a:r>
              <a:rPr lang="pl-PL" sz="2000" dirty="0"/>
              <a:t>Metodą graficzną można podzielić powiaty na grupy.</a:t>
            </a:r>
          </a:p>
          <a:p>
            <a:pPr marL="358775" indent="-358775">
              <a:spcBef>
                <a:spcPts val="600"/>
              </a:spcBef>
              <a:buFont typeface="+mj-lt"/>
              <a:buAutoNum type="arabicPeriod"/>
            </a:pPr>
            <a:r>
              <a:rPr lang="pl-PL" sz="2000" dirty="0"/>
              <a:t>Badając korelację pomiędzy zmiennymi a składowymi głównymi można stwierdzić jak poszczególna zmienna wpływa na składową główną.</a:t>
            </a:r>
          </a:p>
          <a:p>
            <a:pPr marL="358775" indent="-358775">
              <a:spcBef>
                <a:spcPts val="600"/>
              </a:spcBef>
              <a:buFont typeface="+mj-lt"/>
              <a:buAutoNum type="arabicPeriod"/>
            </a:pPr>
            <a:r>
              <a:rPr lang="pl-PL" sz="2000" dirty="0"/>
              <a:t>W każdym roku różne zmienne istotnie opisują powiaty pod względem gospodarki mieszkaniowej i komunalnej.</a:t>
            </a:r>
          </a:p>
          <a:p>
            <a:pPr marL="358775" indent="-358775">
              <a:spcBef>
                <a:spcPts val="600"/>
              </a:spcBef>
              <a:buFont typeface="+mj-lt"/>
              <a:buAutoNum type="arabicPeriod"/>
            </a:pPr>
            <a:r>
              <a:rPr lang="pl-PL" sz="2000" dirty="0"/>
              <a:t>Model PCA uniemożliwia interpretować jak pojedyncza zmienna wpływa na powiaty.</a:t>
            </a:r>
          </a:p>
          <a:p>
            <a:pPr marL="0" indent="0">
              <a:spcBef>
                <a:spcPts val="600"/>
              </a:spcBef>
              <a:buNone/>
            </a:pPr>
            <a:endParaRPr lang="pl-PL" sz="1800" dirty="0"/>
          </a:p>
        </p:txBody>
      </p:sp>
      <p:pic>
        <p:nvPicPr>
          <p:cNvPr id="9" name="Picture 28" descr="IRK"/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9525031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7015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Plan prezentacj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l-PL" dirty="0"/>
              <a:t>Cel pracy</a:t>
            </a:r>
          </a:p>
          <a:p>
            <a:r>
              <a:rPr lang="pl-PL" dirty="0"/>
              <a:t>Źródło danych</a:t>
            </a:r>
            <a:endParaRPr lang="en-US" dirty="0"/>
          </a:p>
          <a:p>
            <a:r>
              <a:rPr lang="pl-PL" dirty="0"/>
              <a:t>Opis PCA</a:t>
            </a:r>
          </a:p>
          <a:p>
            <a:r>
              <a:rPr lang="pl-PL" dirty="0"/>
              <a:t>Wyniki obliczeń</a:t>
            </a:r>
          </a:p>
          <a:p>
            <a:r>
              <a:rPr lang="pl-PL" dirty="0"/>
              <a:t>Wnioski</a:t>
            </a:r>
          </a:p>
          <a:p>
            <a:endParaRPr lang="pl-PL" dirty="0"/>
          </a:p>
          <a:p>
            <a:endParaRPr lang="pl-PL" dirty="0"/>
          </a:p>
        </p:txBody>
      </p:sp>
      <p:pic>
        <p:nvPicPr>
          <p:cNvPr id="7" name="Picture 28" descr="IRK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017246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985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Cel pra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dirty="0"/>
              <a:t>Celem pracy jest analiza powiatów Polski ze względu na gospodarkę mieszkaniową i komunalną: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Znalezienie podobieństw między powiatami i opis podobieństw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Wyodrębnienie grup powiatów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Zaobserwowanie zmian w gospodarce mieszkaniowej i komunalnej w czasie</a:t>
            </a:r>
            <a:endParaRPr lang="en-US" dirty="0"/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Nauczenie</a:t>
            </a:r>
            <a:r>
              <a:rPr lang="en-US" dirty="0"/>
              <a:t> </a:t>
            </a:r>
            <a:r>
              <a:rPr lang="pl-PL" dirty="0"/>
              <a:t>się metody analizy głównych składowych i jej realizacji  w języku R</a:t>
            </a:r>
          </a:p>
        </p:txBody>
      </p:sp>
      <p:pic>
        <p:nvPicPr>
          <p:cNvPr id="7" name="Picture 28" descr="IRK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693046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893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5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Źródło dany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Dane </a:t>
            </a:r>
            <a:r>
              <a:rPr lang="pl-PL" dirty="0"/>
              <a:t>pochodzą z GUS-u (Główny Urząd Statystyczny), z banku danych lokalnych, kategorii </a:t>
            </a:r>
            <a:r>
              <a:rPr lang="pl-PL" i="1" dirty="0"/>
              <a:t>Gospodarka Mieszkaniowa i Komunalna</a:t>
            </a:r>
            <a:r>
              <a:rPr lang="pl-PL" dirty="0"/>
              <a:t>. Kategoria zawiera 7 grup: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Ciepłownictwo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Dodatki mieszkaniowe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Remonty komunalnych zasobów mieszkaniowych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Remonty zasobów mieszkaniowych według form własności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Ubytki w zasobach mieszkaniowych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Urządzenia sieciowe</a:t>
            </a:r>
          </a:p>
          <a:p>
            <a:pPr marL="514350" indent="-514350">
              <a:buFont typeface="+mj-lt"/>
              <a:buAutoNum type="arabicPeriod"/>
            </a:pPr>
            <a:r>
              <a:rPr lang="pl-PL" dirty="0"/>
              <a:t>Zasoby mieszkaniowe</a:t>
            </a:r>
          </a:p>
        </p:txBody>
      </p:sp>
      <p:pic>
        <p:nvPicPr>
          <p:cNvPr id="7" name="Picture 28" descr="IRK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174262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6597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8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Metodyka obliczeń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sz="2400" dirty="0"/>
              <a:t>PCA (Principal Component Analysis) jest metodą statystyczną stosowaną w celu zmniejszenia wymiarów zbioru danych, który składa się z dużej ilości powiązanych ze sobą zmiennych.</a:t>
            </a:r>
          </a:p>
        </p:txBody>
      </p:sp>
      <p:pic>
        <p:nvPicPr>
          <p:cNvPr id="7" name="Picture 28" descr="IRK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5346431"/>
              </p:ext>
            </p:extLst>
          </p:nvPr>
        </p:nvGraphicFramePr>
        <p:xfrm>
          <a:off x="953310" y="3021488"/>
          <a:ext cx="10233500" cy="2969584"/>
        </p:xfrm>
        <a:graphic>
          <a:graphicData uri="http://schemas.openxmlformats.org/drawingml/2006/table">
            <a:tbl>
              <a:tblPr/>
              <a:tblGrid>
                <a:gridCol w="5116750">
                  <a:extLst>
                    <a:ext uri="{9D8B030D-6E8A-4147-A177-3AD203B41FA5}">
                      <a16:colId xmlns:a16="http://schemas.microsoft.com/office/drawing/2014/main" val="3046586772"/>
                    </a:ext>
                  </a:extLst>
                </a:gridCol>
                <a:gridCol w="5116750">
                  <a:extLst>
                    <a:ext uri="{9D8B030D-6E8A-4147-A177-3AD203B41FA5}">
                      <a16:colId xmlns:a16="http://schemas.microsoft.com/office/drawing/2014/main" val="3356441312"/>
                    </a:ext>
                  </a:extLst>
                </a:gridCol>
              </a:tblGrid>
              <a:tr h="500704"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2400" b="1" i="0" dirty="0">
                          <a:effectLst/>
                          <a:latin typeface="Times New Roman" panose="02020603050405020304" pitchFamily="18" charset="0"/>
                        </a:rPr>
                        <a:t>Wady</a:t>
                      </a:r>
                      <a:endParaRPr lang="pl-PL" sz="24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2400" b="1" i="0" dirty="0">
                          <a:effectLst/>
                          <a:latin typeface="Times New Roman" panose="02020603050405020304" pitchFamily="18" charset="0"/>
                        </a:rPr>
                        <a:t>Zalety</a:t>
                      </a:r>
                      <a:endParaRPr lang="pl-PL" sz="24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3497109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l" rtl="0" fontAlgn="base"/>
                      <a:r>
                        <a:rPr lang="pl-PL" sz="2400" b="0" i="0" dirty="0">
                          <a:effectLst/>
                        </a:rPr>
                        <a:t>utrata informacji o pierwotnym zbiorze danych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pl-PL" sz="2400" b="0" i="0" dirty="0">
                          <a:effectLst/>
                        </a:rPr>
                        <a:t>zmniejszenie wymiaru modelu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1076449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l" rtl="0" fontAlgn="base"/>
                      <a:r>
                        <a:rPr lang="pl-PL" sz="2400" b="0" i="0" dirty="0">
                          <a:effectLst/>
                        </a:rPr>
                        <a:t>brak możliwości interpretacji pierwotnych zmiennych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pl-PL" sz="2400" b="0" i="0" dirty="0">
                          <a:effectLst/>
                        </a:rPr>
                        <a:t>usunięcie korelacji między zmiennymi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0516317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l" rtl="0" fontAlgn="base"/>
                      <a:endParaRPr lang="pl-PL" sz="24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pl-PL" sz="2400" b="0" i="0" dirty="0">
                          <a:effectLst/>
                        </a:rPr>
                        <a:t>możliwość wizualizacji i interpretacji graficznej</a:t>
                      </a: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0222454"/>
                  </a:ext>
                </a:extLst>
              </a:tr>
            </a:tbl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620826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30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0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Metodyka obliczeń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sz="2400" dirty="0"/>
              <a:t>PCA (Principal Component Analysis) również pozwala:</a:t>
            </a:r>
          </a:p>
          <a:p>
            <a:r>
              <a:rPr lang="pl-PL" sz="2400" dirty="0"/>
              <a:t>określić jaką wariancję opisuje każda składowa</a:t>
            </a:r>
          </a:p>
          <a:p>
            <a:r>
              <a:rPr lang="pl-PL" sz="2400" dirty="0"/>
              <a:t>określić jakie zmienne i w jaki sposób one wpływają na główne składowe</a:t>
            </a:r>
          </a:p>
          <a:p>
            <a:r>
              <a:rPr lang="pl-PL" sz="2400" dirty="0"/>
              <a:t>dokonywać interpretacji graficznej w dwóch lub trzech wymiarach</a:t>
            </a:r>
          </a:p>
          <a:p>
            <a:r>
              <a:rPr lang="pl-PL" sz="2400" dirty="0"/>
              <a:t>dokonywać dalszych analiz innymi metodami (na przykład grupowanie k-</a:t>
            </a:r>
            <a:r>
              <a:rPr lang="pl-PL" sz="2400" dirty="0" err="1"/>
              <a:t>means</a:t>
            </a:r>
            <a:r>
              <a:rPr lang="pl-PL" sz="2400" dirty="0"/>
              <a:t>)</a:t>
            </a:r>
          </a:p>
          <a:p>
            <a:endParaRPr lang="pl-PL" sz="2400" dirty="0"/>
          </a:p>
        </p:txBody>
      </p:sp>
      <p:pic>
        <p:nvPicPr>
          <p:cNvPr id="7" name="Picture 28" descr="IRK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629496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0278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3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Wyniki obliczeń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pl-PL" sz="2100" dirty="0"/>
              <a:t>Przed rozpoczęciem obliczeń zostały usunięte skorelowane zmienne. Skorelowana para zmiennych była uznawana wtedy, kiedy współczynnik korelacji był powyżej 0.5, lub poniżej -0.5. W 2017 roku było 1043 skorelowanych par zmiennych, w 2015 – 1463 par, w 2013 – 791 par.</a:t>
            </a:r>
          </a:p>
          <a:p>
            <a:pPr marL="0" indent="0">
              <a:buNone/>
            </a:pPr>
            <a:endParaRPr lang="pl-PL" sz="2100" dirty="0"/>
          </a:p>
          <a:p>
            <a:pPr marL="0" indent="0">
              <a:buNone/>
            </a:pPr>
            <a:r>
              <a:rPr lang="pl-PL" sz="2100" dirty="0"/>
              <a:t>	</a:t>
            </a:r>
          </a:p>
          <a:p>
            <a:pPr marL="0" indent="0">
              <a:buNone/>
            </a:pPr>
            <a:endParaRPr lang="pl-PL" sz="2100" dirty="0"/>
          </a:p>
          <a:p>
            <a:pPr marL="0" indent="0">
              <a:buNone/>
            </a:pPr>
            <a:endParaRPr lang="pl-PL" sz="2100" dirty="0"/>
          </a:p>
          <a:p>
            <a:pPr marL="0" indent="0">
              <a:buNone/>
            </a:pPr>
            <a:endParaRPr lang="pl-PL" sz="2100" dirty="0"/>
          </a:p>
          <a:p>
            <a:pPr marL="0" indent="0">
              <a:buNone/>
            </a:pPr>
            <a:endParaRPr lang="pl-PL" sz="2100" dirty="0"/>
          </a:p>
          <a:p>
            <a:pPr marL="0" indent="0">
              <a:buNone/>
            </a:pPr>
            <a:endParaRPr lang="pl-PL" sz="2100" dirty="0"/>
          </a:p>
        </p:txBody>
      </p:sp>
      <p:pic>
        <p:nvPicPr>
          <p:cNvPr id="7" name="Picture 28" descr="IRK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30612"/>
              </p:ext>
            </p:extLst>
          </p:nvPr>
        </p:nvGraphicFramePr>
        <p:xfrm>
          <a:off x="1235413" y="2997841"/>
          <a:ext cx="9931941" cy="2373291"/>
        </p:xfrm>
        <a:graphic>
          <a:graphicData uri="http://schemas.openxmlformats.org/drawingml/2006/table">
            <a:tbl>
              <a:tblPr/>
              <a:tblGrid>
                <a:gridCol w="885217">
                  <a:extLst>
                    <a:ext uri="{9D8B030D-6E8A-4147-A177-3AD203B41FA5}">
                      <a16:colId xmlns:a16="http://schemas.microsoft.com/office/drawing/2014/main" val="1041596251"/>
                    </a:ext>
                  </a:extLst>
                </a:gridCol>
                <a:gridCol w="3726572">
                  <a:extLst>
                    <a:ext uri="{9D8B030D-6E8A-4147-A177-3AD203B41FA5}">
                      <a16:colId xmlns:a16="http://schemas.microsoft.com/office/drawing/2014/main" val="3046586772"/>
                    </a:ext>
                  </a:extLst>
                </a:gridCol>
                <a:gridCol w="3726572">
                  <a:extLst>
                    <a:ext uri="{9D8B030D-6E8A-4147-A177-3AD203B41FA5}">
                      <a16:colId xmlns:a16="http://schemas.microsoft.com/office/drawing/2014/main" val="3356441312"/>
                    </a:ext>
                  </a:extLst>
                </a:gridCol>
                <a:gridCol w="1593580">
                  <a:extLst>
                    <a:ext uri="{9D8B030D-6E8A-4147-A177-3AD203B41FA5}">
                      <a16:colId xmlns:a16="http://schemas.microsoft.com/office/drawing/2014/main" val="1851210746"/>
                    </a:ext>
                  </a:extLst>
                </a:gridCol>
              </a:tblGrid>
              <a:tr h="500704"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Rok</a:t>
                      </a:r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Liczba zmiennych przed usunięciem skorelowanych zmiennych</a:t>
                      </a:r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Liczba zmiennych po usunięciu skorelowanych zmiennych</a:t>
                      </a:r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Usunięto</a:t>
                      </a:r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3497109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13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194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66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128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1076449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>
                          <a:effectLst/>
                          <a:latin typeface="Times New Roman" panose="02020603050405020304" pitchFamily="18" charset="0"/>
                        </a:rPr>
                        <a:t>2015 </a:t>
                      </a:r>
                      <a:endParaRPr lang="pl-PL" sz="1800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83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73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10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0516317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>
                          <a:effectLst/>
                          <a:latin typeface="Times New Roman" panose="02020603050405020304" pitchFamily="18" charset="0"/>
                        </a:rPr>
                        <a:t>2017 </a:t>
                      </a:r>
                      <a:endParaRPr lang="pl-PL" sz="1800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>
                          <a:effectLst/>
                          <a:latin typeface="Times New Roman" panose="02020603050405020304" pitchFamily="18" charset="0"/>
                        </a:rPr>
                        <a:t>132 </a:t>
                      </a:r>
                      <a:endParaRPr lang="pl-PL" sz="1800" b="0" i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31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101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0222454"/>
                  </a:ext>
                </a:extLst>
              </a:tr>
            </a:tbl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531477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0966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9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Wyniki obliczeń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F1E69-3F99-4376-BDB5-6F7F401F3C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sz="2100" dirty="0"/>
              <a:t>Na podstawie 31 zmiennych (2017 rok) został stworzony model głównych składowych. Pierwsze dwie główne składowe opisują 38.3% wariancji modelu. W związku z tym w dalszej analizie będą wykorzystane tylko składowe PC1 i PC2. </a:t>
            </a:r>
          </a:p>
          <a:p>
            <a:pPr marL="0" indent="0">
              <a:buNone/>
            </a:pPr>
            <a:r>
              <a:rPr lang="pl-PL" sz="2100" dirty="0"/>
              <a:t>Dla 2015 roku wykorzystano 73 zmienne, a pierwsze dwie składowe opisują 20.7% wariancji.</a:t>
            </a:r>
          </a:p>
          <a:p>
            <a:pPr marL="0" indent="0">
              <a:buNone/>
            </a:pPr>
            <a:r>
              <a:rPr lang="pl-PL" sz="2100" dirty="0"/>
              <a:t>Dla 2013 roku wykorzystano 66 zmiennych, a pierwsze dwie składowe opisują 17.7% wariancji.</a:t>
            </a:r>
          </a:p>
          <a:p>
            <a:pPr marL="0" indent="0">
              <a:buNone/>
            </a:pPr>
            <a:endParaRPr lang="pl-PL" sz="2100" dirty="0"/>
          </a:p>
        </p:txBody>
      </p:sp>
      <p:pic>
        <p:nvPicPr>
          <p:cNvPr id="9" name="Picture 28" descr="IRK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  <p:graphicFrame>
        <p:nvGraphicFramePr>
          <p:cNvPr id="13" name="Tabela 7">
            <a:extLst>
              <a:ext uri="{FF2B5EF4-FFF2-40B4-BE49-F238E27FC236}">
                <a16:creationId xmlns:a16="http://schemas.microsoft.com/office/drawing/2014/main" id="{A59B7887-B745-45D1-BFA1-4F544BDAA9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751002"/>
              </p:ext>
            </p:extLst>
          </p:nvPr>
        </p:nvGraphicFramePr>
        <p:xfrm>
          <a:off x="945204" y="3662074"/>
          <a:ext cx="2478797" cy="2233915"/>
        </p:xfrm>
        <a:graphic>
          <a:graphicData uri="http://schemas.openxmlformats.org/drawingml/2006/table">
            <a:tbl>
              <a:tblPr/>
              <a:tblGrid>
                <a:gridCol w="885217">
                  <a:extLst>
                    <a:ext uri="{9D8B030D-6E8A-4147-A177-3AD203B41FA5}">
                      <a16:colId xmlns:a16="http://schemas.microsoft.com/office/drawing/2014/main" val="1041596251"/>
                    </a:ext>
                  </a:extLst>
                </a:gridCol>
                <a:gridCol w="1593580">
                  <a:extLst>
                    <a:ext uri="{9D8B030D-6E8A-4147-A177-3AD203B41FA5}">
                      <a16:colId xmlns:a16="http://schemas.microsoft.com/office/drawing/2014/main" val="1851210746"/>
                    </a:ext>
                  </a:extLst>
                </a:gridCol>
              </a:tblGrid>
              <a:tr h="500704"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Rok</a:t>
                      </a:r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pl-PL" sz="1800" b="1" i="0" dirty="0">
                          <a:effectLst/>
                          <a:latin typeface="Times New Roman" panose="02020603050405020304" pitchFamily="18" charset="0"/>
                        </a:rPr>
                        <a:t>Wariancja</a:t>
                      </a:r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3497109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17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38.3%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4352763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15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.7%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0516317"/>
                  </a:ext>
                </a:extLst>
              </a:tr>
              <a:tr h="577737">
                <a:tc>
                  <a:txBody>
                    <a:bodyPr/>
                    <a:lstStyle/>
                    <a:p>
                      <a:pPr algn="just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2013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ase"/>
                      <a:r>
                        <a:rPr lang="pl-PL" sz="1800" b="0" i="0" dirty="0">
                          <a:effectLst/>
                          <a:latin typeface="Times New Roman" panose="02020603050405020304" pitchFamily="18" charset="0"/>
                        </a:rPr>
                        <a:t>17.7%</a:t>
                      </a:r>
                      <a:endParaRPr lang="pl-PL" sz="1800" b="0" i="0" dirty="0">
                        <a:effectLst/>
                      </a:endParaRPr>
                    </a:p>
                  </a:txBody>
                  <a:tcPr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95189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6141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13DB06-B4E4-4952-AE87-C1A995C5BD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059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5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13DB06-B4E4-4952-AE87-C1A995C5B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95EE22-3795-419C-8BF5-2873C8DBEF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4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B49F7A-B7D1-4DE2-A915-2016037F7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6776"/>
            <a:ext cx="10515600" cy="796440"/>
          </a:xfrm>
        </p:spPr>
        <p:txBody>
          <a:bodyPr vert="horz">
            <a:normAutofit/>
          </a:bodyPr>
          <a:lstStyle/>
          <a:p>
            <a:r>
              <a:rPr lang="pl-PL" sz="3600" b="1" dirty="0">
                <a:latin typeface="+mn-lt"/>
              </a:rPr>
              <a:t>Wyniki obliczeń</a:t>
            </a:r>
            <a:r>
              <a:rPr lang="en-US" sz="3600" b="1" dirty="0">
                <a:latin typeface="+mn-lt"/>
              </a:rPr>
              <a:t> - </a:t>
            </a:r>
            <a:r>
              <a:rPr lang="pl-PL" sz="3600" b="1" dirty="0">
                <a:latin typeface="+mn-lt"/>
              </a:rPr>
              <a:t>wariancja</a:t>
            </a:r>
          </a:p>
        </p:txBody>
      </p:sp>
      <p:pic>
        <p:nvPicPr>
          <p:cNvPr id="9" name="Picture 28" descr="IRK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t="17072" r="7536" b="15948"/>
          <a:stretch/>
        </p:blipFill>
        <p:spPr bwMode="auto">
          <a:xfrm>
            <a:off x="1" y="6434418"/>
            <a:ext cx="1371600" cy="42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ADFC4CC2-4310-47AF-8F89-7B6797DD2CAD}"/>
              </a:ext>
            </a:extLst>
          </p:cNvPr>
          <p:cNvSpPr txBox="1">
            <a:spLocks/>
          </p:cNvSpPr>
          <p:nvPr/>
        </p:nvSpPr>
        <p:spPr>
          <a:xfrm>
            <a:off x="10862031" y="6567758"/>
            <a:ext cx="1329969" cy="2902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pl-PL" sz="1400" dirty="0"/>
              <a:t>M</a:t>
            </a:r>
            <a:r>
              <a:rPr lang="en-US" sz="1400" dirty="0" err="1"/>
              <a:t>ihai</a:t>
            </a:r>
            <a:r>
              <a:rPr lang="en-US" sz="1400" dirty="0"/>
              <a:t> </a:t>
            </a:r>
            <a:r>
              <a:rPr lang="en-US" sz="1400" dirty="0" err="1"/>
              <a:t>Pruteanu</a:t>
            </a:r>
            <a:endParaRPr lang="en-US" sz="1400" dirty="0"/>
          </a:p>
        </p:txBody>
      </p:sp>
      <p:graphicFrame>
        <p:nvGraphicFramePr>
          <p:cNvPr id="11" name="Chart 1">
            <a:extLst>
              <a:ext uri="{FF2B5EF4-FFF2-40B4-BE49-F238E27FC236}">
                <a16:creationId xmlns:a16="http://schemas.microsoft.com/office/drawing/2014/main" id="{D3DBE0AD-B55F-4B7A-9172-8C1ADF0F0F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2579574"/>
              </p:ext>
            </p:extLst>
          </p:nvPr>
        </p:nvGraphicFramePr>
        <p:xfrm>
          <a:off x="142241" y="699164"/>
          <a:ext cx="5940000" cy="30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Chart 12">
            <a:extLst>
              <a:ext uri="{FF2B5EF4-FFF2-40B4-BE49-F238E27FC236}">
                <a16:creationId xmlns:a16="http://schemas.microsoft.com/office/drawing/2014/main" id="{E86062B0-49EE-4BEE-8DD4-2E8456DB02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0984262"/>
              </p:ext>
            </p:extLst>
          </p:nvPr>
        </p:nvGraphicFramePr>
        <p:xfrm>
          <a:off x="6082241" y="699164"/>
          <a:ext cx="5940000" cy="30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7" name="Chart 19">
            <a:extLst>
              <a:ext uri="{FF2B5EF4-FFF2-40B4-BE49-F238E27FC236}">
                <a16:creationId xmlns:a16="http://schemas.microsoft.com/office/drawing/2014/main" id="{B2E3888A-000C-4AF8-B1AC-FB335392C3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3613213"/>
              </p:ext>
            </p:extLst>
          </p:nvPr>
        </p:nvGraphicFramePr>
        <p:xfrm>
          <a:off x="1964987" y="3723164"/>
          <a:ext cx="5813521" cy="30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72518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zEOQ2.6nJa.FV4p0ALQ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PU3mC8QLSQq6C3ZYfM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y9FOC6q_3B12ClNlvEy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3</TotalTime>
  <Words>1271</Words>
  <Application>Microsoft Office PowerPoint</Application>
  <PresentationFormat>Widescreen</PresentationFormat>
  <Paragraphs>267</Paragraphs>
  <Slides>1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lan prezentacji</vt:lpstr>
      <vt:lpstr>Cel pracy</vt:lpstr>
      <vt:lpstr>Źródło danych</vt:lpstr>
      <vt:lpstr>Metodyka obliczeń</vt:lpstr>
      <vt:lpstr>Metodyka obliczeń</vt:lpstr>
      <vt:lpstr>Wyniki obliczeń</vt:lpstr>
      <vt:lpstr>Wyniki obliczeń</vt:lpstr>
      <vt:lpstr>Wyniki obliczeń - wariancja</vt:lpstr>
      <vt:lpstr>PowerPoint Presentation</vt:lpstr>
      <vt:lpstr>PowerPoint Presentation</vt:lpstr>
      <vt:lpstr>Wyniki obliczeń – korelacja składowych głównych i zmiennych, 2017 rok</vt:lpstr>
      <vt:lpstr>PowerPoint Presentation</vt:lpstr>
      <vt:lpstr>Wnioski – porównanie wariancji</vt:lpstr>
      <vt:lpstr>Wnioski – porównanie grup </vt:lpstr>
      <vt:lpstr>Wniosk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acy magisterskiej</dc:title>
  <dc:creator>Pruteanu, Mihai</dc:creator>
  <cp:lastModifiedBy>Pruteanu, Mihai</cp:lastModifiedBy>
  <cp:revision>100</cp:revision>
  <dcterms:created xsi:type="dcterms:W3CDTF">2020-06-25T05:47:57Z</dcterms:created>
  <dcterms:modified xsi:type="dcterms:W3CDTF">2021-02-24T19:47:06Z</dcterms:modified>
</cp:coreProperties>
</file>